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sldIdLst>
    <p:sldId id="257" r:id="rId5"/>
    <p:sldId id="289" r:id="rId6"/>
    <p:sldId id="290" r:id="rId7"/>
    <p:sldId id="291" r:id="rId8"/>
    <p:sldId id="262" r:id="rId9"/>
    <p:sldId id="263" r:id="rId10"/>
    <p:sldId id="264" r:id="rId11"/>
    <p:sldId id="273" r:id="rId12"/>
    <p:sldId id="274" r:id="rId13"/>
    <p:sldId id="283" r:id="rId14"/>
    <p:sldId id="276" r:id="rId15"/>
    <p:sldId id="281" r:id="rId16"/>
    <p:sldId id="282" r:id="rId17"/>
    <p:sldId id="279" r:id="rId18"/>
    <p:sldId id="284" r:id="rId19"/>
    <p:sldId id="285" r:id="rId20"/>
    <p:sldId id="286" r:id="rId21"/>
    <p:sldId id="288" r:id="rId22"/>
    <p:sldId id="272" r:id="rId23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48A605-DBBA-4FE5-BC03-B1CA78D32E88}" v="2" dt="2021-07-28T12:07:51.1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>
        <p:scale>
          <a:sx n="75" d="100"/>
          <a:sy n="75" d="100"/>
        </p:scale>
        <p:origin x="32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MEZ MARTIN, CELIA" userId="a237b895-9175-46db-9207-f47338c9df52" providerId="ADAL" clId="{9648A605-DBBA-4FE5-BC03-B1CA78D32E88}"/>
    <pc:docChg chg="undo custSel modSld">
      <pc:chgData name="GOMEZ MARTIN, CELIA" userId="a237b895-9175-46db-9207-f47338c9df52" providerId="ADAL" clId="{9648A605-DBBA-4FE5-BC03-B1CA78D32E88}" dt="2021-07-28T12:07:56.247" v="34" actId="1035"/>
      <pc:docMkLst>
        <pc:docMk/>
      </pc:docMkLst>
      <pc:sldChg chg="modSp mod">
        <pc:chgData name="GOMEZ MARTIN, CELIA" userId="a237b895-9175-46db-9207-f47338c9df52" providerId="ADAL" clId="{9648A605-DBBA-4FE5-BC03-B1CA78D32E88}" dt="2021-07-28T12:07:56.247" v="34" actId="1035"/>
        <pc:sldMkLst>
          <pc:docMk/>
          <pc:sldMk cId="3505229779" sldId="273"/>
        </pc:sldMkLst>
        <pc:spChg chg="mod">
          <ac:chgData name="GOMEZ MARTIN, CELIA" userId="a237b895-9175-46db-9207-f47338c9df52" providerId="ADAL" clId="{9648A605-DBBA-4FE5-BC03-B1CA78D32E88}" dt="2021-07-28T12:07:56.247" v="34" actId="1035"/>
          <ac:spMkLst>
            <pc:docMk/>
            <pc:sldMk cId="3505229779" sldId="273"/>
            <ac:spMk id="19" creationId="{D7DE9814-9011-484B-8048-D841A27D9BE9}"/>
          </ac:spMkLst>
        </pc:spChg>
        <pc:grpChg chg="mod">
          <ac:chgData name="GOMEZ MARTIN, CELIA" userId="a237b895-9175-46db-9207-f47338c9df52" providerId="ADAL" clId="{9648A605-DBBA-4FE5-BC03-B1CA78D32E88}" dt="2021-07-28T12:07:51.125" v="19" actId="1076"/>
          <ac:grpSpMkLst>
            <pc:docMk/>
            <pc:sldMk cId="3505229779" sldId="273"/>
            <ac:grpSpMk id="16" creationId="{8E31CB65-5F04-479C-A460-5D7D249A14DC}"/>
          </ac:grpSpMkLst>
        </pc:grpChg>
        <pc:picChg chg="mod">
          <ac:chgData name="GOMEZ MARTIN, CELIA" userId="a237b895-9175-46db-9207-f47338c9df52" providerId="ADAL" clId="{9648A605-DBBA-4FE5-BC03-B1CA78D32E88}" dt="2021-07-28T12:07:51.125" v="19" actId="1076"/>
          <ac:picMkLst>
            <pc:docMk/>
            <pc:sldMk cId="3505229779" sldId="273"/>
            <ac:picMk id="4" creationId="{29A79AB5-D2CC-4101-B2F2-E3E87D25D059}"/>
          </ac:picMkLst>
        </pc:picChg>
        <pc:picChg chg="mod">
          <ac:chgData name="GOMEZ MARTIN, CELIA" userId="a237b895-9175-46db-9207-f47338c9df52" providerId="ADAL" clId="{9648A605-DBBA-4FE5-BC03-B1CA78D32E88}" dt="2021-07-28T12:07:51.125" v="19" actId="1076"/>
          <ac:picMkLst>
            <pc:docMk/>
            <pc:sldMk cId="3505229779" sldId="273"/>
            <ac:picMk id="17" creationId="{653FC9A9-D510-4E6A-B659-EA72BB8A433F}"/>
          </ac:picMkLst>
        </pc:picChg>
      </pc:sldChg>
      <pc:sldChg chg="modSp mod">
        <pc:chgData name="GOMEZ MARTIN, CELIA" userId="a237b895-9175-46db-9207-f47338c9df52" providerId="ADAL" clId="{9648A605-DBBA-4FE5-BC03-B1CA78D32E88}" dt="2021-07-28T12:07:42.085" v="17"/>
        <pc:sldMkLst>
          <pc:docMk/>
          <pc:sldMk cId="340346767" sldId="291"/>
        </pc:sldMkLst>
        <pc:spChg chg="mod">
          <ac:chgData name="GOMEZ MARTIN, CELIA" userId="a237b895-9175-46db-9207-f47338c9df52" providerId="ADAL" clId="{9648A605-DBBA-4FE5-BC03-B1CA78D32E88}" dt="2021-07-28T12:07:42.085" v="17"/>
          <ac:spMkLst>
            <pc:docMk/>
            <pc:sldMk cId="340346767" sldId="291"/>
            <ac:spMk id="2" creationId="{00000000-0000-0000-0000-000000000000}"/>
          </ac:spMkLst>
        </pc:spChg>
      </pc:sldChg>
    </pc:docChg>
  </pc:docChgLst>
  <pc:docChgLst>
    <pc:chgData name="SCROBOTA , ANGELA" userId="S::angela.scrobota@repsol.com::f768776f-b3da-409b-8658-0e53dbf47153" providerId="AD" clId="Web-{7380D67D-ED1E-40E3-B077-AD7C5F804CBF}"/>
    <pc:docChg chg="mod">
      <pc:chgData name="SCROBOTA , ANGELA" userId="S::angela.scrobota@repsol.com::f768776f-b3da-409b-8658-0e53dbf47153" providerId="AD" clId="Web-{7380D67D-ED1E-40E3-B077-AD7C5F804CBF}" dt="2022-09-12T11:11:53.434" v="0" actId="33475"/>
      <pc:docMkLst>
        <pc:docMk/>
      </pc:docMkLst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8T11:57:00.593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6203 8568 16383 0 0,'0'0'-16383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8T11:57:00.59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42 9711 16383 0 0,'0'0'-16383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95A959-A7E9-47DD-9AC8-4E8E23AAE685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4D6E2-AE39-47EA-AD01-9A4DBE221F1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6959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807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0335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2471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365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08601E5-CA5F-4218-BA16-7F0701166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7A8381D-7B9E-44F2-81B4-88FB2269BE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632E989-CEC4-4DB4-9769-30BB005F3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EB87ED3-CF80-47C3-B347-F4B3D7853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E0D7621-BDD7-4013-9BFC-9CA02D403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7010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00421D3-CB4B-421E-8027-03A152727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6559ABC-EEBE-4172-B64F-DBDDE0636A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0ED698F-4585-4DAE-AA55-FF0BAFF73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D0A1BB3-E3DA-4B5F-AFF8-98DCD6D9B7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60A82F7-A6CB-4053-9FEB-DFC6B17E3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24507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4276E9C-7EE2-45F6-AC0A-4A66D0B03A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EC3EEBE-7B03-4937-8BBE-AE6DC598B6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C99BA42-398F-46E5-9326-57CDAFE35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04CEB8-8200-4DD5-9884-64326E96B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336A142-0533-499B-8527-5F89CE5F6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73340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cxnSp>
        <p:nvCxnSpPr>
          <p:cNvPr id="11" name="14 Conector recto"/>
          <p:cNvCxnSpPr/>
          <p:nvPr userDrawn="1"/>
        </p:nvCxnSpPr>
        <p:spPr>
          <a:xfrm flipH="1">
            <a:off x="548258" y="889"/>
            <a:ext cx="294118" cy="1003786"/>
          </a:xfrm>
          <a:prstGeom prst="line">
            <a:avLst/>
          </a:prstGeom>
          <a:noFill/>
          <a:ln w="19050" cap="rnd" cmpd="sng" algn="ctr">
            <a:solidFill>
              <a:srgbClr val="6E6259"/>
            </a:solidFill>
            <a:prstDash val="solid"/>
          </a:ln>
          <a:effectLst/>
        </p:spPr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14804" y="118278"/>
            <a:ext cx="8350220" cy="886397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3" name="Picture 342" descr="C:\Users\RY50089\OneDrive - Repsol\Movilidad eléctrica\Marca\AF_REPSOL_MOV ELEC_LOCKUP\PNG\AF_REPSOL_MOV ELECT_LOCKUP_RGB_POS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71"/>
          <a:stretch/>
        </p:blipFill>
        <p:spPr bwMode="auto">
          <a:xfrm>
            <a:off x="11001829" y="-113119"/>
            <a:ext cx="1309010" cy="1287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6578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618979" y="162000"/>
            <a:ext cx="9636369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4239865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B4016D-AFB7-44F3-902C-075B3CEFD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2BDBBFA-57D4-496C-9737-DC252B77C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83FE2C5-62F0-4FE7-9D5E-BF0B9CFCE0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B3CE583-0C9C-422C-B924-96CF4B96D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0652E50-7ECF-45C0-A264-14888BE0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321819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ABF652-854C-4AAC-BC76-6566F6B7A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16E9D92-9A45-48EB-ACDA-8D2A3F8AB1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780966A-7806-4097-86AD-D16081171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60366D-A884-4A17-9F94-CDA8E1E81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D9BDE0B-E8A4-4689-832B-EF5782832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17228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DE0138-8181-4571-93E0-BB8CD75FB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1D7F695-53EC-48F4-8F80-7CEF51393B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738D143-D7B1-4857-9817-B2E82DD7CC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0939513-602C-4B62-810D-9118E3108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5930906-3110-4DED-ABEF-052AAC59E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78EB82D-1A2E-4D3B-B703-4472F7061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87014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9DFCA3-1B91-43D0-9B86-4A983105F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3474896-595B-481E-8E53-51490BE223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52D3C42-A310-42B6-A450-333F8F667D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4CA9D1-7FDD-4FB2-A149-092919D1D9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6095270-6B4F-4A8E-B0F7-98083B7F35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EC91A6BA-7CD6-41A4-A811-7E1EDD4D9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254E23D8-4933-4D7C-AFD3-780C4651E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4602359-9881-42C7-B9C6-B83EE9FE6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5371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5B8C88-50CF-4420-B033-3982A0D9A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20519DC-8634-4B7B-8F79-406369F26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9B12998-B6C2-4A84-A934-9D9F08052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7FE9D65-20CD-472A-B8C1-6C77FBCE4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48171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110E98F7-65C5-4F6C-9270-010C65314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59F3D21-711E-4EA4-B6DA-214AEB23FB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5DFC58C-07B7-4CC9-9134-01DC1AD1B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080467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22F34F-45FE-46E2-A06D-39E6EA9AA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F0BD8B2-BB58-43B6-BC14-21B43D093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A85CCEB-D798-4A05-A5A6-503A35E710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CA962F5-3B42-4D21-9B8D-6B739B03FD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72DFE56-9E6B-4B3F-845B-EDCA6966B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2922EFF-1CE8-4A32-A65D-DDFEAF6E4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5113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DEB9FF-308D-452E-871D-0C15D9496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6C30B025-FE11-4C07-8DB1-80CDFF195D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DA32411-776C-4F8C-BEB8-5A99357545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765AD78-1E10-4E95-AC92-ECA96717E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30E64B9-31B9-433B-A7CA-976A958D6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2B3D8A7-6EDF-4DA7-8B05-6A27F2086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8422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32C8537-083C-4B43-B63B-666C200F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D84E29F-CC97-486A-88B8-A4FA4B59BF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2A04B48-5C4D-4224-A388-9EEED67B5E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9C95FC-6D7E-42C6-8A84-1005023E5633}" type="datetimeFigureOut">
              <a:rPr lang="es-ES" smtClean="0"/>
              <a:t>12/09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452F46-7FC3-4201-9E95-AF3B019E6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B5E56C0-C2AE-45E3-AC72-1B79CFB794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A50161-6CB6-4F3C-81DC-B6E2B34D0E0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308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24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png"/><Relationship Id="rId9" Type="http://schemas.openxmlformats.org/officeDocument/2006/relationships/image" Target="../media/image2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15.png"/><Relationship Id="rId7" Type="http://schemas.openxmlformats.org/officeDocument/2006/relationships/image" Target="../media/image34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15.png"/><Relationship Id="rId7" Type="http://schemas.openxmlformats.org/officeDocument/2006/relationships/image" Target="../media/image34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customXml" Target="../ink/ink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agen que contiene objeto, reloj, señal, dibujo&#10;&#10;Descripción generada automáticamente">
            <a:extLst>
              <a:ext uri="{FF2B5EF4-FFF2-40B4-BE49-F238E27FC236}">
                <a16:creationId xmlns:a16="http://schemas.microsoft.com/office/drawing/2014/main" id="{14E8EE79-5470-4EF9-8E4C-2462CDDF1F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101" y="1321724"/>
            <a:ext cx="6064882" cy="165137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" name="Rectángulo 1"/>
          <p:cNvSpPr/>
          <p:nvPr/>
        </p:nvSpPr>
        <p:spPr>
          <a:xfrm>
            <a:off x="666655" y="3710163"/>
            <a:ext cx="10690166" cy="2193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4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Repsol" panose="02000506030000020004" pitchFamily="2" charset="0"/>
                <a:ea typeface="+mn-ea"/>
                <a:cs typeface="+mn-cs"/>
              </a:rPr>
              <a:t>Características y ventajas de Waylet Cliente Profesional</a:t>
            </a:r>
            <a:endParaRPr kumimoji="0" lang="es-ES_tradnl" sz="4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Repsol" panose="0200050603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30343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agen que contiene objeto, reloj, señal, dibujo&#10;&#10;Descripción generada automáticamente">
            <a:extLst>
              <a:ext uri="{FF2B5EF4-FFF2-40B4-BE49-F238E27FC236}">
                <a16:creationId xmlns:a16="http://schemas.microsoft.com/office/drawing/2014/main" id="{14E8EE79-5470-4EF9-8E4C-2462CDDF1F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101" y="1321724"/>
            <a:ext cx="6064882" cy="165137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" name="Rectángulo 1"/>
          <p:cNvSpPr/>
          <p:nvPr/>
        </p:nvSpPr>
        <p:spPr>
          <a:xfrm>
            <a:off x="666655" y="3710163"/>
            <a:ext cx="10690166" cy="1085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4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Repsol" panose="02000506030000020004" pitchFamily="2" charset="0"/>
                <a:ea typeface="+mn-ea"/>
                <a:cs typeface="+mn-cs"/>
              </a:rPr>
              <a:t>Pantallas de pago</a:t>
            </a:r>
            <a:endParaRPr kumimoji="0" lang="es-ES_tradnl" sz="4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Repsol" panose="0200050603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8970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>
            <a:extLst>
              <a:ext uri="{FF2B5EF4-FFF2-40B4-BE49-F238E27FC236}">
                <a16:creationId xmlns:a16="http://schemas.microsoft.com/office/drawing/2014/main" id="{28D81807-BA84-4B34-A7CA-E23C493059B0}"/>
              </a:ext>
            </a:extLst>
          </p:cNvPr>
          <p:cNvSpPr txBox="1">
            <a:spLocks/>
          </p:cNvSpPr>
          <p:nvPr/>
        </p:nvSpPr>
        <p:spPr>
          <a:xfrm>
            <a:off x="1092897" y="468340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s-ES"/>
            </a:defPPr>
            <a:lvl1pPr marR="0" lvl="0" indent="0" defTabSz="12191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-147" normalizeH="0" baseline="0">
                <a:ln w="3175"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_tradnl" dirty="0"/>
              <a:t>P</a:t>
            </a:r>
            <a:r>
              <a:rPr lang="es-ES" dirty="0" err="1"/>
              <a:t>antalla</a:t>
            </a:r>
            <a:r>
              <a:rPr lang="es-ES" dirty="0"/>
              <a:t> y Flujo de Pago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0C4E7A7F-25B6-41FD-BE87-184D90A90385}"/>
              </a:ext>
            </a:extLst>
          </p:cNvPr>
          <p:cNvGrpSpPr/>
          <p:nvPr/>
        </p:nvGrpSpPr>
        <p:grpSpPr>
          <a:xfrm>
            <a:off x="343867" y="1073724"/>
            <a:ext cx="2556000" cy="5580000"/>
            <a:chOff x="3407487" y="1043879"/>
            <a:chExt cx="2556001" cy="5580000"/>
          </a:xfrm>
        </p:grpSpPr>
        <p:pic>
          <p:nvPicPr>
            <p:cNvPr id="10" name="Imagen 9" descr="Interfaz de usuario gráfica, Texto, Aplicación&#10;&#10;Descripción generada automáticamente">
              <a:extLst>
                <a:ext uri="{FF2B5EF4-FFF2-40B4-BE49-F238E27FC236}">
                  <a16:creationId xmlns:a16="http://schemas.microsoft.com/office/drawing/2014/main" id="{A152CD48-CF18-4BDB-8A88-2F03B0C84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4124" y="1790590"/>
              <a:ext cx="2294021" cy="4240755"/>
            </a:xfrm>
            <a:prstGeom prst="rect">
              <a:avLst/>
            </a:prstGeom>
          </p:spPr>
        </p:pic>
        <p:pic>
          <p:nvPicPr>
            <p:cNvPr id="32" name="Picture 2" descr="Resultado de imagen de marco iphone">
              <a:extLst>
                <a:ext uri="{FF2B5EF4-FFF2-40B4-BE49-F238E27FC236}">
                  <a16:creationId xmlns:a16="http://schemas.microsoft.com/office/drawing/2014/main" id="{333B62EC-4A20-45E8-9B2F-9795C339360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3407487" y="1043879"/>
              <a:ext cx="2556001" cy="55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2B706F54-3B49-4B5F-9C4F-FFB84BEC6C10}"/>
              </a:ext>
            </a:extLst>
          </p:cNvPr>
          <p:cNvGrpSpPr/>
          <p:nvPr/>
        </p:nvGrpSpPr>
        <p:grpSpPr>
          <a:xfrm>
            <a:off x="3377395" y="1073724"/>
            <a:ext cx="2556000" cy="5580000"/>
            <a:chOff x="6913309" y="1053115"/>
            <a:chExt cx="2638239" cy="5580000"/>
          </a:xfrm>
        </p:grpSpPr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0E52CF79-187F-4586-854C-07864D5B0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48653" y="1958109"/>
              <a:ext cx="2270836" cy="4019162"/>
            </a:xfrm>
            <a:prstGeom prst="rect">
              <a:avLst/>
            </a:prstGeom>
          </p:spPr>
        </p:pic>
        <p:pic>
          <p:nvPicPr>
            <p:cNvPr id="38" name="Imagen 37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160B9F9F-030D-466D-9910-3B8475917A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6183"/>
            <a:stretch/>
          </p:blipFill>
          <p:spPr>
            <a:xfrm>
              <a:off x="7041291" y="1790590"/>
              <a:ext cx="2307936" cy="156671"/>
            </a:xfrm>
            <a:prstGeom prst="rect">
              <a:avLst/>
            </a:prstGeom>
          </p:spPr>
        </p:pic>
        <p:pic>
          <p:nvPicPr>
            <p:cNvPr id="33" name="Picture 2" descr="Resultado de imagen de marco iphone">
              <a:extLst>
                <a:ext uri="{FF2B5EF4-FFF2-40B4-BE49-F238E27FC236}">
                  <a16:creationId xmlns:a16="http://schemas.microsoft.com/office/drawing/2014/main" id="{99245B14-D108-4DAF-B5FE-8B8C4499A41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7835" b="17614"/>
            <a:stretch/>
          </p:blipFill>
          <p:spPr bwMode="auto">
            <a:xfrm>
              <a:off x="6913309" y="1053115"/>
              <a:ext cx="2638239" cy="55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F1BFDCF5-842D-4BD3-A8D2-B383C627B57E}"/>
              </a:ext>
            </a:extLst>
          </p:cNvPr>
          <p:cNvGrpSpPr/>
          <p:nvPr/>
        </p:nvGrpSpPr>
        <p:grpSpPr>
          <a:xfrm>
            <a:off x="6334764" y="1053115"/>
            <a:ext cx="2556000" cy="5580000"/>
            <a:chOff x="3303974" y="1057470"/>
            <a:chExt cx="2556000" cy="5509586"/>
          </a:xfrm>
        </p:grpSpPr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A6B9E8DA-DE74-4F89-8760-5D808B66EB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21862" y="1939636"/>
              <a:ext cx="2203083" cy="4054764"/>
            </a:xfrm>
            <a:prstGeom prst="rect">
              <a:avLst/>
            </a:prstGeom>
          </p:spPr>
        </p:pic>
        <p:pic>
          <p:nvPicPr>
            <p:cNvPr id="16" name="Imagen 15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3B5A75AC-4686-4D7A-BADF-88D54AEF8C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6369"/>
            <a:stretch/>
          </p:blipFill>
          <p:spPr>
            <a:xfrm>
              <a:off x="3409535" y="1790590"/>
              <a:ext cx="2307933" cy="149046"/>
            </a:xfrm>
            <a:prstGeom prst="rect">
              <a:avLst/>
            </a:prstGeom>
          </p:spPr>
        </p:pic>
        <p:pic>
          <p:nvPicPr>
            <p:cNvPr id="17" name="Picture 2" descr="Resultado de imagen de marco iphone">
              <a:extLst>
                <a:ext uri="{FF2B5EF4-FFF2-40B4-BE49-F238E27FC236}">
                  <a16:creationId xmlns:a16="http://schemas.microsoft.com/office/drawing/2014/main" id="{3605345D-EA68-47B8-A512-5DCA58E73D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7835" b="17614"/>
            <a:stretch/>
          </p:blipFill>
          <p:spPr bwMode="auto">
            <a:xfrm>
              <a:off x="3303974" y="1057470"/>
              <a:ext cx="2556000" cy="5509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73610852-A897-4091-85C3-89BA0FC2BF1E}"/>
              </a:ext>
            </a:extLst>
          </p:cNvPr>
          <p:cNvGrpSpPr/>
          <p:nvPr/>
        </p:nvGrpSpPr>
        <p:grpSpPr>
          <a:xfrm>
            <a:off x="9292133" y="1053115"/>
            <a:ext cx="2556000" cy="5580000"/>
            <a:chOff x="7659372" y="1053115"/>
            <a:chExt cx="2556000" cy="5509586"/>
          </a:xfrm>
        </p:grpSpPr>
        <p:grpSp>
          <p:nvGrpSpPr>
            <p:cNvPr id="20" name="Grupo 19">
              <a:extLst>
                <a:ext uri="{FF2B5EF4-FFF2-40B4-BE49-F238E27FC236}">
                  <a16:creationId xmlns:a16="http://schemas.microsoft.com/office/drawing/2014/main" id="{0CA82C51-FE4A-4BEF-93EB-BCD66A652102}"/>
                </a:ext>
              </a:extLst>
            </p:cNvPr>
            <p:cNvGrpSpPr/>
            <p:nvPr/>
          </p:nvGrpSpPr>
          <p:grpSpPr>
            <a:xfrm>
              <a:off x="7659372" y="1053115"/>
              <a:ext cx="2556000" cy="5509586"/>
              <a:chOff x="4088085" y="1053115"/>
              <a:chExt cx="2556000" cy="5509586"/>
            </a:xfrm>
          </p:grpSpPr>
          <p:pic>
            <p:nvPicPr>
              <p:cNvPr id="22" name="Imagen 21">
                <a:extLst>
                  <a:ext uri="{FF2B5EF4-FFF2-40B4-BE49-F238E27FC236}">
                    <a16:creationId xmlns:a16="http://schemas.microsoft.com/office/drawing/2014/main" id="{90D4E957-0A65-42EC-973A-6915243737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151046" y="1935281"/>
                <a:ext cx="2307933" cy="4178386"/>
              </a:xfrm>
              <a:prstGeom prst="rect">
                <a:avLst/>
              </a:prstGeom>
            </p:spPr>
          </p:pic>
          <p:pic>
            <p:nvPicPr>
              <p:cNvPr id="23" name="Picture 2" descr="Resultado de imagen de marco iphone">
                <a:extLst>
                  <a:ext uri="{FF2B5EF4-FFF2-40B4-BE49-F238E27FC236}">
                    <a16:creationId xmlns:a16="http://schemas.microsoft.com/office/drawing/2014/main" id="{B558C135-FA2F-42B4-9701-31C28586F91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9276" t="15748" r="27835" b="17614"/>
              <a:stretch/>
            </p:blipFill>
            <p:spPr bwMode="auto">
              <a:xfrm>
                <a:off x="4088085" y="1053115"/>
                <a:ext cx="2556000" cy="55095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Imagen 20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BB3F65FA-317C-47F4-A168-D9F88AD508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6369"/>
            <a:stretch/>
          </p:blipFill>
          <p:spPr>
            <a:xfrm>
              <a:off x="7722332" y="1783851"/>
              <a:ext cx="2307933" cy="1514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6036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>
            <a:extLst>
              <a:ext uri="{FF2B5EF4-FFF2-40B4-BE49-F238E27FC236}">
                <a16:creationId xmlns:a16="http://schemas.microsoft.com/office/drawing/2014/main" id="{28D81807-BA84-4B34-A7CA-E23C493059B0}"/>
              </a:ext>
            </a:extLst>
          </p:cNvPr>
          <p:cNvSpPr txBox="1">
            <a:spLocks/>
          </p:cNvSpPr>
          <p:nvPr/>
        </p:nvSpPr>
        <p:spPr>
          <a:xfrm>
            <a:off x="1092897" y="468340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s-ES"/>
            </a:defPPr>
            <a:lvl1pPr marR="0" lvl="0" indent="0" defTabSz="12191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-147" normalizeH="0" baseline="0">
                <a:ln w="3175"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/>
              <a:t>Flujo de Pago en Pista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1BC0FE39-964E-4ADC-B687-DFF6FD2DF225}"/>
              </a:ext>
            </a:extLst>
          </p:cNvPr>
          <p:cNvGrpSpPr/>
          <p:nvPr/>
        </p:nvGrpSpPr>
        <p:grpSpPr>
          <a:xfrm>
            <a:off x="370410" y="1053115"/>
            <a:ext cx="2556000" cy="5580000"/>
            <a:chOff x="250238" y="1646060"/>
            <a:chExt cx="2143357" cy="4968000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5DCCE52F-1C17-4584-A54C-339C0A958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7734" y="2314774"/>
              <a:ext cx="1913844" cy="3795740"/>
            </a:xfrm>
            <a:prstGeom prst="rect">
              <a:avLst/>
            </a:prstGeom>
          </p:spPr>
        </p:pic>
        <p:pic>
          <p:nvPicPr>
            <p:cNvPr id="21" name="Picture 2" descr="Resultado de imagen de marco iphone">
              <a:extLst>
                <a:ext uri="{FF2B5EF4-FFF2-40B4-BE49-F238E27FC236}">
                  <a16:creationId xmlns:a16="http://schemas.microsoft.com/office/drawing/2014/main" id="{9457742D-2260-467E-AC0B-D6B9477A849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250238" y="1646060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71695B8D-2185-45E7-B17F-AE1784513FA2}"/>
              </a:ext>
            </a:extLst>
          </p:cNvPr>
          <p:cNvGrpSpPr/>
          <p:nvPr/>
        </p:nvGrpSpPr>
        <p:grpSpPr>
          <a:xfrm>
            <a:off x="3497465" y="1053115"/>
            <a:ext cx="2556000" cy="5580000"/>
            <a:chOff x="3546071" y="1825905"/>
            <a:chExt cx="2143357" cy="4968000"/>
          </a:xfrm>
        </p:grpSpPr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8EB41197-4CE3-43BB-B86B-6C81AAC0D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35228" y="2467340"/>
              <a:ext cx="1955731" cy="3823020"/>
            </a:xfrm>
            <a:prstGeom prst="rect">
              <a:avLst/>
            </a:prstGeom>
          </p:spPr>
        </p:pic>
        <p:pic>
          <p:nvPicPr>
            <p:cNvPr id="29" name="Picture 2" descr="Resultado de imagen de marco iphone">
              <a:extLst>
                <a:ext uri="{FF2B5EF4-FFF2-40B4-BE49-F238E27FC236}">
                  <a16:creationId xmlns:a16="http://schemas.microsoft.com/office/drawing/2014/main" id="{B13F65DB-4D2F-418D-B1FC-0F05036300D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3546071" y="1825905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326ABF50-D6A1-478D-8D51-8D63CBC81846}"/>
              </a:ext>
            </a:extLst>
          </p:cNvPr>
          <p:cNvGrpSpPr/>
          <p:nvPr/>
        </p:nvGrpSpPr>
        <p:grpSpPr>
          <a:xfrm>
            <a:off x="6624520" y="1053115"/>
            <a:ext cx="2556000" cy="5580000"/>
            <a:chOff x="6693240" y="1322359"/>
            <a:chExt cx="2143357" cy="4968000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A0350C14-BBCF-46F9-A96B-509E133FF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78233" y="1963793"/>
              <a:ext cx="1969207" cy="3823020"/>
            </a:xfrm>
            <a:prstGeom prst="rect">
              <a:avLst/>
            </a:prstGeom>
          </p:spPr>
        </p:pic>
        <p:pic>
          <p:nvPicPr>
            <p:cNvPr id="38" name="Picture 2" descr="Resultado de imagen de marco iphone">
              <a:extLst>
                <a:ext uri="{FF2B5EF4-FFF2-40B4-BE49-F238E27FC236}">
                  <a16:creationId xmlns:a16="http://schemas.microsoft.com/office/drawing/2014/main" id="{1B4BABB6-5529-4E6C-9570-1F3121D842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6693240" y="1322359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upo 23">
            <a:extLst>
              <a:ext uri="{FF2B5EF4-FFF2-40B4-BE49-F238E27FC236}">
                <a16:creationId xmlns:a16="http://schemas.microsoft.com/office/drawing/2014/main" id="{E70150AC-1D82-45E7-84BE-34BCF6A0B8C4}"/>
              </a:ext>
            </a:extLst>
          </p:cNvPr>
          <p:cNvGrpSpPr/>
          <p:nvPr/>
        </p:nvGrpSpPr>
        <p:grpSpPr>
          <a:xfrm>
            <a:off x="9591403" y="1053115"/>
            <a:ext cx="2556000" cy="5580000"/>
            <a:chOff x="8862591" y="1322359"/>
            <a:chExt cx="2143357" cy="4968000"/>
          </a:xfrm>
        </p:grpSpPr>
        <p:pic>
          <p:nvPicPr>
            <p:cNvPr id="48" name="Imagen 47">
              <a:extLst>
                <a:ext uri="{FF2B5EF4-FFF2-40B4-BE49-F238E27FC236}">
                  <a16:creationId xmlns:a16="http://schemas.microsoft.com/office/drawing/2014/main" id="{A100FECE-F355-443D-B6BA-02B1608DC9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65154"/>
            <a:stretch/>
          </p:blipFill>
          <p:spPr>
            <a:xfrm>
              <a:off x="8931025" y="1963794"/>
              <a:ext cx="1965575" cy="3823020"/>
            </a:xfrm>
            <a:prstGeom prst="rect">
              <a:avLst/>
            </a:prstGeom>
          </p:spPr>
        </p:pic>
        <p:pic>
          <p:nvPicPr>
            <p:cNvPr id="47" name="Picture 2" descr="Resultado de imagen de marco iphone">
              <a:extLst>
                <a:ext uri="{FF2B5EF4-FFF2-40B4-BE49-F238E27FC236}">
                  <a16:creationId xmlns:a16="http://schemas.microsoft.com/office/drawing/2014/main" id="{8DD5959D-F727-4813-9ED9-DEFF2AB7B9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8862591" y="1322359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999912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>
            <a:extLst>
              <a:ext uri="{FF2B5EF4-FFF2-40B4-BE49-F238E27FC236}">
                <a16:creationId xmlns:a16="http://schemas.microsoft.com/office/drawing/2014/main" id="{28D81807-BA84-4B34-A7CA-E23C493059B0}"/>
              </a:ext>
            </a:extLst>
          </p:cNvPr>
          <p:cNvSpPr txBox="1">
            <a:spLocks/>
          </p:cNvSpPr>
          <p:nvPr/>
        </p:nvSpPr>
        <p:spPr>
          <a:xfrm>
            <a:off x="1092897" y="468340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s-ES"/>
            </a:defPPr>
            <a:lvl1pPr marR="0" lvl="0" indent="0" defTabSz="12191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-147" normalizeH="0" baseline="0">
                <a:ln w="3175"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/>
              <a:t>Flujo de Pago en Pista – </a:t>
            </a:r>
            <a:r>
              <a:rPr lang="es-ES" dirty="0">
                <a:solidFill>
                  <a:schemeClr val="accent2"/>
                </a:solidFill>
              </a:rPr>
              <a:t>Llenar depósito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0917408F-A62D-479A-B93F-F4D5CBAE4B3A}"/>
              </a:ext>
            </a:extLst>
          </p:cNvPr>
          <p:cNvGrpSpPr/>
          <p:nvPr/>
        </p:nvGrpSpPr>
        <p:grpSpPr>
          <a:xfrm>
            <a:off x="358013" y="1150121"/>
            <a:ext cx="2556000" cy="5580000"/>
            <a:chOff x="370425" y="664267"/>
            <a:chExt cx="2143357" cy="4968000"/>
          </a:xfrm>
        </p:grpSpPr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317C07A2-C3BC-4B6D-9519-992AF56725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308"/>
            <a:stretch/>
          </p:blipFill>
          <p:spPr>
            <a:xfrm>
              <a:off x="476529" y="1312835"/>
              <a:ext cx="1941089" cy="3813347"/>
            </a:xfrm>
            <a:prstGeom prst="rect">
              <a:avLst/>
            </a:prstGeom>
          </p:spPr>
        </p:pic>
        <p:pic>
          <p:nvPicPr>
            <p:cNvPr id="28" name="Picture 2" descr="Resultado de imagen de marco iphone">
              <a:extLst>
                <a:ext uri="{FF2B5EF4-FFF2-40B4-BE49-F238E27FC236}">
                  <a16:creationId xmlns:a16="http://schemas.microsoft.com/office/drawing/2014/main" id="{6FE172C6-605E-4F72-83E2-9E5E177564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370425" y="664267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upo 40">
            <a:extLst>
              <a:ext uri="{FF2B5EF4-FFF2-40B4-BE49-F238E27FC236}">
                <a16:creationId xmlns:a16="http://schemas.microsoft.com/office/drawing/2014/main" id="{D5963219-1E13-4254-BC5E-6488CE233154}"/>
              </a:ext>
            </a:extLst>
          </p:cNvPr>
          <p:cNvGrpSpPr/>
          <p:nvPr/>
        </p:nvGrpSpPr>
        <p:grpSpPr>
          <a:xfrm>
            <a:off x="3522416" y="1150121"/>
            <a:ext cx="2556000" cy="5580000"/>
            <a:chOff x="5128474" y="1280794"/>
            <a:chExt cx="2143357" cy="4968000"/>
          </a:xfrm>
        </p:grpSpPr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F7769F6B-F7AE-49FB-977F-D313667E0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19640" y="1929363"/>
              <a:ext cx="1943160" cy="3804452"/>
            </a:xfrm>
            <a:prstGeom prst="rect">
              <a:avLst/>
            </a:prstGeom>
          </p:spPr>
        </p:pic>
        <p:pic>
          <p:nvPicPr>
            <p:cNvPr id="42" name="Picture 2" descr="Resultado de imagen de marco iphone">
              <a:extLst>
                <a:ext uri="{FF2B5EF4-FFF2-40B4-BE49-F238E27FC236}">
                  <a16:creationId xmlns:a16="http://schemas.microsoft.com/office/drawing/2014/main" id="{358E30D3-3192-4F3A-AD09-BB52B16346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5128474" y="1280794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92AF7A22-F87C-4B9A-94BE-8B9E64162586}"/>
              </a:ext>
            </a:extLst>
          </p:cNvPr>
          <p:cNvGrpSpPr/>
          <p:nvPr/>
        </p:nvGrpSpPr>
        <p:grpSpPr>
          <a:xfrm>
            <a:off x="6561909" y="1150121"/>
            <a:ext cx="2556000" cy="5580000"/>
            <a:chOff x="7247039" y="1280794"/>
            <a:chExt cx="2143357" cy="4968000"/>
          </a:xfrm>
        </p:grpSpPr>
        <p:pic>
          <p:nvPicPr>
            <p:cNvPr id="37" name="Imagen 36">
              <a:extLst>
                <a:ext uri="{FF2B5EF4-FFF2-40B4-BE49-F238E27FC236}">
                  <a16:creationId xmlns:a16="http://schemas.microsoft.com/office/drawing/2014/main" id="{08759072-3600-4B58-A239-57329D438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50826" y="1929362"/>
              <a:ext cx="1930539" cy="3804452"/>
            </a:xfrm>
            <a:prstGeom prst="rect">
              <a:avLst/>
            </a:prstGeom>
          </p:spPr>
        </p:pic>
        <p:pic>
          <p:nvPicPr>
            <p:cNvPr id="48" name="Picture 2" descr="Resultado de imagen de marco iphone">
              <a:extLst>
                <a:ext uri="{FF2B5EF4-FFF2-40B4-BE49-F238E27FC236}">
                  <a16:creationId xmlns:a16="http://schemas.microsoft.com/office/drawing/2014/main" id="{6B6BAC85-4AC5-41C7-A96D-F98F9EE653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7247039" y="1280794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03609225-4195-4A90-BFD1-E0097122D00D}"/>
              </a:ext>
            </a:extLst>
          </p:cNvPr>
          <p:cNvGrpSpPr/>
          <p:nvPr/>
        </p:nvGrpSpPr>
        <p:grpSpPr>
          <a:xfrm>
            <a:off x="9562630" y="1150121"/>
            <a:ext cx="2556000" cy="5580000"/>
            <a:chOff x="9292503" y="1347588"/>
            <a:chExt cx="2143357" cy="4968000"/>
          </a:xfrm>
        </p:grpSpPr>
        <p:pic>
          <p:nvPicPr>
            <p:cNvPr id="40" name="Imagen 39">
              <a:extLst>
                <a:ext uri="{FF2B5EF4-FFF2-40B4-BE49-F238E27FC236}">
                  <a16:creationId xmlns:a16="http://schemas.microsoft.com/office/drawing/2014/main" id="{6091F497-201D-446B-9D6B-9060D5B61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376888" y="2026169"/>
              <a:ext cx="1985292" cy="3792742"/>
            </a:xfrm>
            <a:prstGeom prst="rect">
              <a:avLst/>
            </a:prstGeom>
          </p:spPr>
        </p:pic>
        <p:pic>
          <p:nvPicPr>
            <p:cNvPr id="49" name="Picture 2" descr="Resultado de imagen de marco iphone">
              <a:extLst>
                <a:ext uri="{FF2B5EF4-FFF2-40B4-BE49-F238E27FC236}">
                  <a16:creationId xmlns:a16="http://schemas.microsoft.com/office/drawing/2014/main" id="{0C9E0BC4-8183-497D-8B12-EF791B3CB74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9292503" y="1347588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Imagen 2">
            <a:extLst>
              <a:ext uri="{FF2B5EF4-FFF2-40B4-BE49-F238E27FC236}">
                <a16:creationId xmlns:a16="http://schemas.microsoft.com/office/drawing/2014/main" id="{858579E6-5995-4F68-B396-B34FEDC1D9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32500" y="6172259"/>
            <a:ext cx="1914525" cy="44767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E8150DB1-02DA-4F12-BF0B-D1A52EEA93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6501" y="6172259"/>
            <a:ext cx="182880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8013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>
            <a:extLst>
              <a:ext uri="{FF2B5EF4-FFF2-40B4-BE49-F238E27FC236}">
                <a16:creationId xmlns:a16="http://schemas.microsoft.com/office/drawing/2014/main" id="{28D81807-BA84-4B34-A7CA-E23C493059B0}"/>
              </a:ext>
            </a:extLst>
          </p:cNvPr>
          <p:cNvSpPr txBox="1">
            <a:spLocks/>
          </p:cNvSpPr>
          <p:nvPr/>
        </p:nvSpPr>
        <p:spPr>
          <a:xfrm>
            <a:off x="1092897" y="468340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s-ES"/>
            </a:defPPr>
            <a:lvl1pPr marR="0" lvl="0" indent="0" defTabSz="12191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-147" normalizeH="0" baseline="0">
                <a:ln w="3175"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/>
              <a:t>Flujo de Pago en Pista – </a:t>
            </a:r>
            <a:r>
              <a:rPr lang="es-ES" dirty="0">
                <a:solidFill>
                  <a:schemeClr val="accent2"/>
                </a:solidFill>
              </a:rPr>
              <a:t>Elegir importe</a:t>
            </a: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D5963219-1E13-4254-BC5E-6488CE233154}"/>
              </a:ext>
            </a:extLst>
          </p:cNvPr>
          <p:cNvGrpSpPr/>
          <p:nvPr/>
        </p:nvGrpSpPr>
        <p:grpSpPr>
          <a:xfrm>
            <a:off x="3431064" y="1150121"/>
            <a:ext cx="2556000" cy="5580000"/>
            <a:chOff x="5128474" y="1280794"/>
            <a:chExt cx="2143357" cy="4968000"/>
          </a:xfrm>
        </p:grpSpPr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F7769F6B-F7AE-49FB-977F-D313667E0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19640" y="1929363"/>
              <a:ext cx="1943160" cy="3804452"/>
            </a:xfrm>
            <a:prstGeom prst="rect">
              <a:avLst/>
            </a:prstGeom>
          </p:spPr>
        </p:pic>
        <p:pic>
          <p:nvPicPr>
            <p:cNvPr id="42" name="Picture 2" descr="Resultado de imagen de marco iphone">
              <a:extLst>
                <a:ext uri="{FF2B5EF4-FFF2-40B4-BE49-F238E27FC236}">
                  <a16:creationId xmlns:a16="http://schemas.microsoft.com/office/drawing/2014/main" id="{358E30D3-3192-4F3A-AD09-BB52B16346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5128474" y="1280794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92AF7A22-F87C-4B9A-94BE-8B9E64162586}"/>
              </a:ext>
            </a:extLst>
          </p:cNvPr>
          <p:cNvGrpSpPr/>
          <p:nvPr/>
        </p:nvGrpSpPr>
        <p:grpSpPr>
          <a:xfrm>
            <a:off x="6459019" y="1150121"/>
            <a:ext cx="2556000" cy="5580000"/>
            <a:chOff x="7247039" y="1280794"/>
            <a:chExt cx="2143357" cy="4968000"/>
          </a:xfrm>
        </p:grpSpPr>
        <p:pic>
          <p:nvPicPr>
            <p:cNvPr id="37" name="Imagen 36">
              <a:extLst>
                <a:ext uri="{FF2B5EF4-FFF2-40B4-BE49-F238E27FC236}">
                  <a16:creationId xmlns:a16="http://schemas.microsoft.com/office/drawing/2014/main" id="{08759072-3600-4B58-A239-57329D438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50826" y="1929362"/>
              <a:ext cx="1930539" cy="3804452"/>
            </a:xfrm>
            <a:prstGeom prst="rect">
              <a:avLst/>
            </a:prstGeom>
          </p:spPr>
        </p:pic>
        <p:pic>
          <p:nvPicPr>
            <p:cNvPr id="48" name="Picture 2" descr="Resultado de imagen de marco iphone">
              <a:extLst>
                <a:ext uri="{FF2B5EF4-FFF2-40B4-BE49-F238E27FC236}">
                  <a16:creationId xmlns:a16="http://schemas.microsoft.com/office/drawing/2014/main" id="{6B6BAC85-4AC5-41C7-A96D-F98F9EE653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7247039" y="1280794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03609225-4195-4A90-BFD1-E0097122D00D}"/>
              </a:ext>
            </a:extLst>
          </p:cNvPr>
          <p:cNvGrpSpPr/>
          <p:nvPr/>
        </p:nvGrpSpPr>
        <p:grpSpPr>
          <a:xfrm>
            <a:off x="9394719" y="1150121"/>
            <a:ext cx="2556000" cy="5580000"/>
            <a:chOff x="9292503" y="1347588"/>
            <a:chExt cx="2143357" cy="4968000"/>
          </a:xfrm>
        </p:grpSpPr>
        <p:pic>
          <p:nvPicPr>
            <p:cNvPr id="40" name="Imagen 39">
              <a:extLst>
                <a:ext uri="{FF2B5EF4-FFF2-40B4-BE49-F238E27FC236}">
                  <a16:creationId xmlns:a16="http://schemas.microsoft.com/office/drawing/2014/main" id="{6091F497-201D-446B-9D6B-9060D5B61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376888" y="2026169"/>
              <a:ext cx="1985292" cy="3792742"/>
            </a:xfrm>
            <a:prstGeom prst="rect">
              <a:avLst/>
            </a:prstGeom>
          </p:spPr>
        </p:pic>
        <p:pic>
          <p:nvPicPr>
            <p:cNvPr id="49" name="Picture 2" descr="Resultado de imagen de marco iphone">
              <a:extLst>
                <a:ext uri="{FF2B5EF4-FFF2-40B4-BE49-F238E27FC236}">
                  <a16:creationId xmlns:a16="http://schemas.microsoft.com/office/drawing/2014/main" id="{0C9E0BC4-8183-497D-8B12-EF791B3CB74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9292503" y="1347588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10A6CAF0-74D4-4CDE-ABFB-71F424F33311}"/>
              </a:ext>
            </a:extLst>
          </p:cNvPr>
          <p:cNvGrpSpPr/>
          <p:nvPr/>
        </p:nvGrpSpPr>
        <p:grpSpPr>
          <a:xfrm>
            <a:off x="380999" y="1150121"/>
            <a:ext cx="2556000" cy="5580000"/>
            <a:chOff x="-18145" y="1218449"/>
            <a:chExt cx="2143357" cy="4968000"/>
          </a:xfrm>
        </p:grpSpPr>
        <p:pic>
          <p:nvPicPr>
            <p:cNvPr id="52" name="Imagen 51">
              <a:extLst>
                <a:ext uri="{FF2B5EF4-FFF2-40B4-BE49-F238E27FC236}">
                  <a16:creationId xmlns:a16="http://schemas.microsoft.com/office/drawing/2014/main" id="{3BA0618F-AB90-4EAB-87C9-F617D4E68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231" y="1863436"/>
              <a:ext cx="1924606" cy="3789969"/>
            </a:xfrm>
            <a:prstGeom prst="rect">
              <a:avLst/>
            </a:prstGeom>
          </p:spPr>
        </p:pic>
        <p:pic>
          <p:nvPicPr>
            <p:cNvPr id="28" name="Picture 2" descr="Resultado de imagen de marco iphone">
              <a:extLst>
                <a:ext uri="{FF2B5EF4-FFF2-40B4-BE49-F238E27FC236}">
                  <a16:creationId xmlns:a16="http://schemas.microsoft.com/office/drawing/2014/main" id="{6FE172C6-605E-4F72-83E2-9E5E177564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-18145" y="1218449"/>
              <a:ext cx="2143357" cy="49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5" name="Imagen 54">
            <a:extLst>
              <a:ext uri="{FF2B5EF4-FFF2-40B4-BE49-F238E27FC236}">
                <a16:creationId xmlns:a16="http://schemas.microsoft.com/office/drawing/2014/main" id="{29D9D7DC-3C19-495E-911C-B2C1283961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1801" y="6158289"/>
            <a:ext cx="1914525" cy="447675"/>
          </a:xfrm>
          <a:prstGeom prst="rect">
            <a:avLst/>
          </a:prstGeom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8E443E30-F12D-4B4E-AC9E-11D8BAC939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0469" y="6165822"/>
            <a:ext cx="182880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8762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agen que contiene objeto, reloj, señal, dibujo&#10;&#10;Descripción generada automáticamente">
            <a:extLst>
              <a:ext uri="{FF2B5EF4-FFF2-40B4-BE49-F238E27FC236}">
                <a16:creationId xmlns:a16="http://schemas.microsoft.com/office/drawing/2014/main" id="{14E8EE79-5470-4EF9-8E4C-2462CDDF1F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101" y="1321724"/>
            <a:ext cx="6064882" cy="165137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" name="Rectángulo 1"/>
          <p:cNvSpPr/>
          <p:nvPr/>
        </p:nvSpPr>
        <p:spPr>
          <a:xfrm>
            <a:off x="0" y="3710163"/>
            <a:ext cx="12191999" cy="2193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4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Repsol" panose="02000506030000020004" pitchFamily="2" charset="0"/>
                <a:ea typeface="+mn-ea"/>
                <a:cs typeface="+mn-cs"/>
              </a:rPr>
              <a:t>Solred Directo</a:t>
            </a:r>
          </a:p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4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Repsol" panose="02000506030000020004" pitchFamily="2" charset="0"/>
                <a:ea typeface="+mn-ea"/>
                <a:cs typeface="+mn-cs"/>
              </a:rPr>
              <a:t>Nuestro portal </a:t>
            </a:r>
            <a:r>
              <a:rPr lang="es-ES_tradnl" sz="4800" b="1" dirty="0">
                <a:solidFill>
                  <a:srgbClr val="ED7D31"/>
                </a:solidFill>
                <a:latin typeface="Repsol" panose="02000506030000020004" pitchFamily="2" charset="0"/>
              </a:rPr>
              <a:t>para el Cliente Profesional</a:t>
            </a:r>
            <a:endParaRPr kumimoji="0" lang="es-ES_tradnl" sz="4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Repsol" panose="0200050603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8387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Alta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A0B7F6C-2CC0-4E18-891F-6CE22AAF8731}"/>
              </a:ext>
            </a:extLst>
          </p:cNvPr>
          <p:cNvSpPr/>
          <p:nvPr/>
        </p:nvSpPr>
        <p:spPr>
          <a:xfrm>
            <a:off x="0" y="1016304"/>
            <a:ext cx="6770110" cy="350865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ial Nova" panose="020B0504020202020204" pitchFamily="34" charset="0"/>
                <a:cs typeface="Arial"/>
              </a:rPr>
              <a:t>1.-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  <a:cs typeface="Arial"/>
              </a:rPr>
              <a:t> Puedes darte de alta en el servicio de Solred Directo, registrándote en el Área de Clientes de Repsol desde 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  <a:cs typeface="Arial"/>
              </a:rPr>
              <a:t>repsol.com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1200" cap="none" spc="0" normalizeH="0" baseline="0" noProof="0" dirty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Arial Nova" panose="020B0504020202020204" pitchFamily="34" charset="0"/>
              <a:cs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ial Nova" panose="020B0504020202020204" pitchFamily="34" charset="0"/>
                <a:cs typeface="Arial"/>
              </a:rPr>
              <a:t>2.-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  <a:cs typeface="Arial"/>
              </a:rPr>
              <a:t> Pulsa sobre ¿No tienes cuenta aún? Regístrate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 Nova" panose="020B0504020202020204" pitchFamily="34" charset="0"/>
              </a:rPr>
              <a:t> 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 Nova" panose="020B0504020202020204" pitchFamily="34" charset="0"/>
              <a:cs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71EFFFBA-773C-45F6-A5F6-B3C0EA6776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847" y="3514170"/>
            <a:ext cx="4318019" cy="2858033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F494982D-DA37-4600-BB07-9213F6AB21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9704" y="1743324"/>
            <a:ext cx="4088410" cy="1549947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CA1A8E17-D6FF-4D2A-ADC0-EC9F7BE4AF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311" b="23002"/>
          <a:stretch/>
        </p:blipFill>
        <p:spPr>
          <a:xfrm>
            <a:off x="6949704" y="4109416"/>
            <a:ext cx="4431925" cy="1684894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C5BD858A-2F7E-4566-AF00-01404C8265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594" y="1877227"/>
            <a:ext cx="5296639" cy="933580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B11FA613-AFE0-4D26-BF02-5FE4273F40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6605" y="5863163"/>
            <a:ext cx="4598121" cy="207021"/>
          </a:xfrm>
          <a:prstGeom prst="rect">
            <a:avLst/>
          </a:prstGeom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186828BC-D1B5-478E-949D-2F7A31651020}"/>
              </a:ext>
            </a:extLst>
          </p:cNvPr>
          <p:cNvSpPr/>
          <p:nvPr/>
        </p:nvSpPr>
        <p:spPr>
          <a:xfrm>
            <a:off x="6141175" y="6134517"/>
            <a:ext cx="5673001" cy="7078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 pulsar en el botón “Registrarme y aceptar las condiciones”, si alguno de los datos no son correctos se muestra el siguiente mensaje:  “Los datos introducidos no son correctos. Por favor revísalos”.  El dato que esté incorrecto aparecerá en un recuadro rojo. 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a vez finalizado el registro, se enviará un correo electrónico a la dirección de e-mail indicada para terminar de validar el proceso de alta de registro. 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&amp;quot"/>
              <a:ea typeface="+mn-ea"/>
              <a:cs typeface="+mn-cs"/>
            </a:endParaRP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00F9B5D3-C10F-4260-AF82-AF2A2FC8B5D6}"/>
              </a:ext>
            </a:extLst>
          </p:cNvPr>
          <p:cNvSpPr txBox="1">
            <a:spLocks/>
          </p:cNvSpPr>
          <p:nvPr/>
        </p:nvSpPr>
        <p:spPr>
          <a:xfrm>
            <a:off x="6770110" y="1175666"/>
            <a:ext cx="5293123" cy="634473"/>
          </a:xfrm>
          <a:prstGeom prst="rect">
            <a:avLst/>
          </a:prstGeom>
        </p:spPr>
        <p:txBody>
          <a:bodyPr vert="horz" lIns="36000" tIns="36000" rIns="36000" bIns="3600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s-ES" sz="1400" dirty="0">
                <a:solidFill>
                  <a:schemeClr val="accent2"/>
                </a:solidFill>
                <a:latin typeface="Arial"/>
                <a:cs typeface="Arial"/>
              </a:rPr>
              <a:t>3.- </a:t>
            </a:r>
            <a:r>
              <a:rPr lang="es-ES" sz="1400" dirty="0">
                <a:solidFill>
                  <a:srgbClr val="000000"/>
                </a:solidFill>
                <a:latin typeface="Arial"/>
                <a:cs typeface="Arial"/>
              </a:rPr>
              <a:t>Busca entre los servicios que se muestran y selecciona “Solred Directo”: </a:t>
            </a:r>
          </a:p>
          <a:p>
            <a:pPr fontAlgn="base"/>
            <a:endParaRPr lang="es-ES" dirty="0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FA3D385F-3D36-44D9-B9E7-7399FB1ED04B}"/>
              </a:ext>
            </a:extLst>
          </p:cNvPr>
          <p:cNvSpPr/>
          <p:nvPr/>
        </p:nvSpPr>
        <p:spPr>
          <a:xfrm>
            <a:off x="5891721" y="3586196"/>
            <a:ext cx="5997432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-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 continuación, solo tendrás que ir rellenando los datos que se vayan mostrando en la pantalla y aceptar las condiciones:</a:t>
            </a:r>
          </a:p>
        </p:txBody>
      </p:sp>
    </p:spTree>
    <p:extLst>
      <p:ext uri="{BB962C8B-B14F-4D97-AF65-F5344CB8AC3E}">
        <p14:creationId xmlns:p14="http://schemas.microsoft.com/office/powerpoint/2010/main" val="3784722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Funcionalidades I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2875D00A-DBBA-400F-A553-F551E7B4BEE7}"/>
              </a:ext>
            </a:extLst>
          </p:cNvPr>
          <p:cNvSpPr txBox="1">
            <a:spLocks/>
          </p:cNvSpPr>
          <p:nvPr/>
        </p:nvSpPr>
        <p:spPr>
          <a:xfrm>
            <a:off x="676274" y="1600300"/>
            <a:ext cx="536399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b="1" dirty="0">
                <a:solidFill>
                  <a:schemeClr val="accent2"/>
                </a:solidFill>
                <a:latin typeface="Arial Nova" panose="020B0504020202020204" pitchFamily="34" charset="0"/>
              </a:rPr>
              <a:t>DATOS</a:t>
            </a:r>
            <a:endParaRPr lang="es-ES" sz="1600" b="1" dirty="0">
              <a:solidFill>
                <a:schemeClr val="accent2"/>
              </a:solidFill>
              <a:latin typeface="Arial Nova" panose="020B0504020202020204" pitchFamily="34" charset="0"/>
            </a:endParaRPr>
          </a:p>
        </p:txBody>
      </p:sp>
      <p:sp>
        <p:nvSpPr>
          <p:cNvPr id="17" name="Marcador de texto 12">
            <a:extLst>
              <a:ext uri="{FF2B5EF4-FFF2-40B4-BE49-F238E27FC236}">
                <a16:creationId xmlns:a16="http://schemas.microsoft.com/office/drawing/2014/main" id="{EF7BAF3C-5EFF-4C74-9E79-C3B115553E9D}"/>
              </a:ext>
            </a:extLst>
          </p:cNvPr>
          <p:cNvSpPr txBox="1">
            <a:spLocks/>
          </p:cNvSpPr>
          <p:nvPr/>
        </p:nvSpPr>
        <p:spPr>
          <a:xfrm>
            <a:off x="6457950" y="1600300"/>
            <a:ext cx="5363999" cy="396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000" b="1" dirty="0">
                <a:solidFill>
                  <a:schemeClr val="accent2"/>
                </a:solidFill>
                <a:latin typeface="Arial Nova" panose="020B0504020202020204" pitchFamily="34" charset="0"/>
                <a:sym typeface="Trebuchet MS" panose="020B0603020202020204" pitchFamily="34" charset="0"/>
              </a:rPr>
              <a:t>TARJETAS</a:t>
            </a:r>
          </a:p>
        </p:txBody>
      </p:sp>
      <p:sp>
        <p:nvSpPr>
          <p:cNvPr id="18" name="Marcador de texto 13">
            <a:extLst>
              <a:ext uri="{FF2B5EF4-FFF2-40B4-BE49-F238E27FC236}">
                <a16:creationId xmlns:a16="http://schemas.microsoft.com/office/drawing/2014/main" id="{9D4FAD66-3D7C-4AEF-9692-37940A6697A0}"/>
              </a:ext>
            </a:extLst>
          </p:cNvPr>
          <p:cNvSpPr txBox="1">
            <a:spLocks/>
          </p:cNvSpPr>
          <p:nvPr/>
        </p:nvSpPr>
        <p:spPr>
          <a:xfrm>
            <a:off x="676276" y="2245806"/>
            <a:ext cx="5363998" cy="36851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Consultar el estado de las cuentas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Dar acceso a S.D a otras personas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Modificar datos de correspondencia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Ver y/o modificar restricciones/límites comerciales de tus cuentas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Consultar condiciones comerciales</a:t>
            </a:r>
          </a:p>
        </p:txBody>
      </p:sp>
      <p:sp>
        <p:nvSpPr>
          <p:cNvPr id="19" name="Marcador de texto 14">
            <a:extLst>
              <a:ext uri="{FF2B5EF4-FFF2-40B4-BE49-F238E27FC236}">
                <a16:creationId xmlns:a16="http://schemas.microsoft.com/office/drawing/2014/main" id="{40AD3D61-8CFF-44B5-8336-EA5854A8F235}"/>
              </a:ext>
            </a:extLst>
          </p:cNvPr>
          <p:cNvSpPr txBox="1">
            <a:spLocks/>
          </p:cNvSpPr>
          <p:nvPr/>
        </p:nvSpPr>
        <p:spPr>
          <a:xfrm>
            <a:off x="6457950" y="2245806"/>
            <a:ext cx="5363998" cy="368519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Altas de tarjetas y dispositivos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Descarga de tarjetas en fichero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Ver y/o modificar límites de las tarjetas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Bloquear tarjetas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Solicitar duplicado de pin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Sustitución de tarjeta por deterioro </a:t>
            </a:r>
          </a:p>
          <a:p>
            <a:pPr marL="609600" lvl="1" indent="-342900"/>
            <a:endParaRPr lang="es-ES" sz="1800" dirty="0">
              <a:latin typeface="Arial Nova" panose="020B0504020202020204" pitchFamily="34" charset="0"/>
            </a:endParaRPr>
          </a:p>
          <a:p>
            <a:pPr>
              <a:buFont typeface="Arial" panose="020B0604020202020204" pitchFamily="34" charset="0"/>
              <a:buNone/>
            </a:pPr>
            <a:endParaRPr lang="es-ES" sz="2000" dirty="0">
              <a:latin typeface="Arial Nova" panose="020B0504020202020204" pitchFamily="34" charset="0"/>
            </a:endParaRPr>
          </a:p>
        </p:txBody>
      </p:sp>
      <p:pic>
        <p:nvPicPr>
          <p:cNvPr id="20" name="Imagen 4" descr="Imagen que contiene Gráfico de embudo&#10;&#10;Descripción generada automáticamente">
            <a:extLst>
              <a:ext uri="{FF2B5EF4-FFF2-40B4-BE49-F238E27FC236}">
                <a16:creationId xmlns:a16="http://schemas.microsoft.com/office/drawing/2014/main" id="{11A84032-177A-4C61-8B6B-A56A18025D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981"/>
          <a:stretch/>
        </p:blipFill>
        <p:spPr>
          <a:xfrm>
            <a:off x="7858691" y="4844078"/>
            <a:ext cx="1962150" cy="1426697"/>
          </a:xfrm>
          <a:prstGeom prst="rect">
            <a:avLst/>
          </a:prstGeom>
        </p:spPr>
      </p:pic>
      <p:pic>
        <p:nvPicPr>
          <p:cNvPr id="21" name="Imagen 4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82A6A274-B670-4E4F-BFE8-56A68DC0BD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8081" y="4699150"/>
            <a:ext cx="2533650" cy="157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620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Funcionalidades II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5D532DBC-B85C-4470-9587-1E588B76CC99}"/>
              </a:ext>
            </a:extLst>
          </p:cNvPr>
          <p:cNvSpPr txBox="1">
            <a:spLocks/>
          </p:cNvSpPr>
          <p:nvPr/>
        </p:nvSpPr>
        <p:spPr>
          <a:xfrm>
            <a:off x="676274" y="1600300"/>
            <a:ext cx="536399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b="1" dirty="0">
                <a:solidFill>
                  <a:schemeClr val="accent2"/>
                </a:solidFill>
                <a:latin typeface="Arial Nova" panose="020B0504020202020204" pitchFamily="34" charset="0"/>
              </a:rPr>
              <a:t>MOVIMIENTOS</a:t>
            </a:r>
          </a:p>
        </p:txBody>
      </p:sp>
      <p:sp>
        <p:nvSpPr>
          <p:cNvPr id="10" name="Marcador de texto 5">
            <a:extLst>
              <a:ext uri="{FF2B5EF4-FFF2-40B4-BE49-F238E27FC236}">
                <a16:creationId xmlns:a16="http://schemas.microsoft.com/office/drawing/2014/main" id="{91948057-78AE-4EA6-97DA-179932B1D471}"/>
              </a:ext>
            </a:extLst>
          </p:cNvPr>
          <p:cNvSpPr txBox="1">
            <a:spLocks/>
          </p:cNvSpPr>
          <p:nvPr/>
        </p:nvSpPr>
        <p:spPr>
          <a:xfrm>
            <a:off x="6457950" y="1600300"/>
            <a:ext cx="5363999" cy="396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000" b="1" dirty="0">
                <a:solidFill>
                  <a:schemeClr val="accent2"/>
                </a:solidFill>
                <a:latin typeface="Arial Nova" panose="020B0504020202020204" pitchFamily="34" charset="0"/>
                <a:sym typeface="Trebuchet MS" panose="020B0603020202020204" pitchFamily="34" charset="0"/>
              </a:rPr>
              <a:t>ALTA WAYLET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67AF3BE3-BE77-404C-8228-DA00F44AFB8A}"/>
              </a:ext>
            </a:extLst>
          </p:cNvPr>
          <p:cNvSpPr txBox="1">
            <a:spLocks/>
          </p:cNvSpPr>
          <p:nvPr/>
        </p:nvSpPr>
        <p:spPr>
          <a:xfrm>
            <a:off x="6457950" y="2245806"/>
            <a:ext cx="5363998" cy="3685193"/>
          </a:xfrm>
          <a:prstGeom prst="rect">
            <a:avLst/>
          </a:prstGeom>
        </p:spPr>
        <p:txBody>
          <a:bodyPr vert="horz" lIns="36000" tIns="36000" rIns="36000" bIns="3600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Alta conductores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Modificación teléfono (conductor)</a:t>
            </a:r>
          </a:p>
          <a:p>
            <a:pPr marL="609600" lvl="1" indent="-342900"/>
            <a:r>
              <a:rPr lang="es-ES" sz="1800" dirty="0">
                <a:latin typeface="Arial Nova" panose="020B0504020202020204" pitchFamily="34" charset="0"/>
              </a:rPr>
              <a:t>Baja teléfono (conductor)</a:t>
            </a:r>
          </a:p>
          <a:p>
            <a:pPr lvl="1">
              <a:buFont typeface="Wingdings" panose="020B0604020202020204" pitchFamily="34" charset="0"/>
              <a:buChar char="§"/>
            </a:pPr>
            <a:endParaRPr lang="es-ES" dirty="0">
              <a:cs typeface="Arial" panose="020B0604020202020204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EFD8DA1F-A472-4DE6-872B-21C3698B9A92}"/>
              </a:ext>
            </a:extLst>
          </p:cNvPr>
          <p:cNvSpPr txBox="1">
            <a:spLocks/>
          </p:cNvSpPr>
          <p:nvPr/>
        </p:nvSpPr>
        <p:spPr>
          <a:xfrm>
            <a:off x="709612" y="3586263"/>
            <a:ext cx="5363999" cy="3960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800" dirty="0">
              <a:latin typeface="Arial Nova" panose="020B0504020202020204" pitchFamily="34" charset="0"/>
            </a:endParaRPr>
          </a:p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800" dirty="0">
                <a:latin typeface="Arial Nova" panose="020B0504020202020204" pitchFamily="34" charset="0"/>
              </a:rPr>
              <a:t>Consulta de operaciones de tarjeta</a:t>
            </a:r>
          </a:p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800" dirty="0">
                <a:latin typeface="Arial Nova" panose="020B0504020202020204" pitchFamily="34" charset="0"/>
              </a:rPr>
              <a:t>Descarga de fichero de operaciones</a:t>
            </a:r>
          </a:p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800" dirty="0">
                <a:latin typeface="Arial Nova" panose="020B0504020202020204" pitchFamily="34" charset="0"/>
              </a:rPr>
              <a:t>Consulta de resumen de consumos</a:t>
            </a:r>
          </a:p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800" dirty="0">
              <a:latin typeface="Arial Nova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>
                <a:solidFill>
                  <a:schemeClr val="accent2"/>
                </a:solidFill>
                <a:latin typeface="Arial Nova" panose="020B0504020202020204" pitchFamily="34" charset="0"/>
                <a:sym typeface="Trebuchet MS" panose="020B0603020202020204" pitchFamily="34" charset="0"/>
              </a:rPr>
              <a:t>FACTURAS</a:t>
            </a:r>
          </a:p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800" dirty="0">
                <a:latin typeface="Arial Nova" panose="020B0504020202020204" pitchFamily="34" charset="0"/>
              </a:rPr>
              <a:t>Descarga de facturas en </a:t>
            </a:r>
            <a:r>
              <a:rPr lang="es-ES" sz="1800" dirty="0" err="1">
                <a:latin typeface="Arial Nova" panose="020B0504020202020204" pitchFamily="34" charset="0"/>
              </a:rPr>
              <a:t>pdf</a:t>
            </a:r>
            <a:r>
              <a:rPr lang="es-ES" sz="1800" dirty="0">
                <a:latin typeface="Arial Nova" panose="020B0504020202020204" pitchFamily="34" charset="0"/>
              </a:rPr>
              <a:t> y en fichero</a:t>
            </a:r>
          </a:p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800" dirty="0">
                <a:latin typeface="Arial Nova" panose="020B0504020202020204" pitchFamily="34" charset="0"/>
              </a:rPr>
              <a:t>Consulta del saldo de la cuenta</a:t>
            </a:r>
          </a:p>
          <a:p>
            <a:pPr marL="609600" marR="0" lvl="1" indent="-342900" fontAlgn="auto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800" dirty="0">
                <a:latin typeface="Arial Nova" panose="020B0504020202020204" pitchFamily="34" charset="0"/>
              </a:rPr>
              <a:t>Alta en facturación electrónica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5" name="Entrada de lápiz 14">
                <a:extLst>
                  <a:ext uri="{FF2B5EF4-FFF2-40B4-BE49-F238E27FC236}">
                    <a16:creationId xmlns:a16="http://schemas.microsoft.com/office/drawing/2014/main" id="{350E8C91-6DBA-4A77-8C67-A5783C9C528D}"/>
                  </a:ext>
                </a:extLst>
              </p14:cNvPr>
              <p14:cNvContentPartPr/>
              <p14:nvPr/>
            </p14:nvContentPartPr>
            <p14:xfrm>
              <a:off x="5689513" y="3084091"/>
              <a:ext cx="9524" cy="9524"/>
            </p14:xfrm>
          </p:contentPart>
        </mc:Choice>
        <mc:Fallback xmlns="">
          <p:pic>
            <p:nvPicPr>
              <p:cNvPr id="15" name="Entrada de lápiz 14">
                <a:extLst>
                  <a:ext uri="{FF2B5EF4-FFF2-40B4-BE49-F238E27FC236}">
                    <a16:creationId xmlns:a16="http://schemas.microsoft.com/office/drawing/2014/main" id="{350E8C91-6DBA-4A77-8C67-A5783C9C528D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213313" y="2607891"/>
                <a:ext cx="952400" cy="952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2" name="Entrada de lápiz 21">
                <a:extLst>
                  <a:ext uri="{FF2B5EF4-FFF2-40B4-BE49-F238E27FC236}">
                    <a16:creationId xmlns:a16="http://schemas.microsoft.com/office/drawing/2014/main" id="{058939F4-392B-4A39-9AA1-06ABCA8F415D}"/>
                  </a:ext>
                </a:extLst>
              </p14:cNvPr>
              <p14:cNvContentPartPr/>
              <p14:nvPr/>
            </p14:nvContentPartPr>
            <p14:xfrm>
              <a:off x="6153857" y="3512716"/>
              <a:ext cx="9524" cy="9524"/>
            </p14:xfrm>
          </p:contentPart>
        </mc:Choice>
        <mc:Fallback xmlns="">
          <p:pic>
            <p:nvPicPr>
              <p:cNvPr id="22" name="Entrada de lápiz 21">
                <a:extLst>
                  <a:ext uri="{FF2B5EF4-FFF2-40B4-BE49-F238E27FC236}">
                    <a16:creationId xmlns:a16="http://schemas.microsoft.com/office/drawing/2014/main" id="{058939F4-392B-4A39-9AA1-06ABCA8F415D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77657" y="3036516"/>
                <a:ext cx="952400" cy="952400"/>
              </a:xfrm>
              <a:prstGeom prst="rect">
                <a:avLst/>
              </a:prstGeom>
            </p:spPr>
          </p:pic>
        </mc:Fallback>
      </mc:AlternateContent>
      <p:pic>
        <p:nvPicPr>
          <p:cNvPr id="25" name="Imagen 9" descr="Imagen que contiene computadora&#10;&#10;Descripción generada automáticamente">
            <a:extLst>
              <a:ext uri="{FF2B5EF4-FFF2-40B4-BE49-F238E27FC236}">
                <a16:creationId xmlns:a16="http://schemas.microsoft.com/office/drawing/2014/main" id="{F2620732-ED53-4015-B00C-B2E66BA87C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9271" y="4341210"/>
            <a:ext cx="2403021" cy="1872360"/>
          </a:xfrm>
          <a:prstGeom prst="rect">
            <a:avLst/>
          </a:prstGeom>
        </p:spPr>
      </p:pic>
      <p:pic>
        <p:nvPicPr>
          <p:cNvPr id="26" name="Imagen 11">
            <a:extLst>
              <a:ext uri="{FF2B5EF4-FFF2-40B4-BE49-F238E27FC236}">
                <a16:creationId xmlns:a16="http://schemas.microsoft.com/office/drawing/2014/main" id="{FF3F055F-FB6B-4814-A0C6-77CF56F5A3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04653" y="4580399"/>
            <a:ext cx="2334986" cy="1276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873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0323" y="826707"/>
            <a:ext cx="8212024" cy="2255716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4983392" y="3432391"/>
            <a:ext cx="162095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V Boli" panose="02000500030200090000" pitchFamily="2" charset="0"/>
                <a:ea typeface="+mn-ea"/>
                <a:cs typeface="MV Boli" panose="02000500030200090000" pitchFamily="2" charset="0"/>
              </a:rPr>
              <a:t>Gracias</a:t>
            </a:r>
            <a:endParaRPr kumimoji="0" lang="es-ES" sz="3600" b="0" i="0" u="none" strike="noStrike" kern="1200" cap="none" spc="0" normalizeH="0" baseline="0" noProof="0" dirty="0">
              <a:ln>
                <a:noFill/>
              </a:ln>
              <a:solidFill>
                <a:srgbClr val="6E6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9941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4">
            <a:extLst>
              <a:ext uri="{FF2B5EF4-FFF2-40B4-BE49-F238E27FC236}">
                <a16:creationId xmlns:a16="http://schemas.microsoft.com/office/drawing/2014/main" id="{EB534FF8-BE27-4EE0-87F0-661F19FE1958}"/>
              </a:ext>
            </a:extLst>
          </p:cNvPr>
          <p:cNvSpPr/>
          <p:nvPr/>
        </p:nvSpPr>
        <p:spPr>
          <a:xfrm>
            <a:off x="541865" y="1481644"/>
            <a:ext cx="9947739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Pago solo en Estaciones de Servicio: en tienda y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en pista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_tradnl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Autorización de operaciones con pin de </a:t>
            </a:r>
            <a:r>
              <a:rPr kumimoji="0" lang="es-ES_tradnl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Waylet</a:t>
            </a: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    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_trad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Mismos descuentos en </a:t>
            </a:r>
            <a:r>
              <a:rPr kumimoji="0" lang="es-ES_tradnl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Waylet</a:t>
            </a: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 que las tarjetas en el mundo físico  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_tradnl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Una misma tarjeta </a:t>
            </a:r>
            <a:r>
              <a:rPr kumimoji="0" lang="es-ES_tradnl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Solred</a:t>
            </a: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 para diferentes usuarios </a:t>
            </a:r>
            <a:r>
              <a:rPr kumimoji="0" lang="es-ES_tradnl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Waylet</a:t>
            </a:r>
            <a:endParaRPr kumimoji="0" lang="es-ES_trad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_trad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Un mismo usuario </a:t>
            </a:r>
            <a:r>
              <a:rPr kumimoji="0" lang="es-ES_tradnl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Waylet</a:t>
            </a: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 con diferentes tarjetas Solr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_trad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No genera Saldo y no redime Sald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_trad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Posibilidad de utilizar cupones descuento Waylet en las operaciones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14DDFDC4-5DA9-44D9-9D61-DC79A27A6D0A}"/>
              </a:ext>
            </a:extLst>
          </p:cNvPr>
          <p:cNvGrpSpPr/>
          <p:nvPr/>
        </p:nvGrpSpPr>
        <p:grpSpPr>
          <a:xfrm>
            <a:off x="10196944" y="3205018"/>
            <a:ext cx="2221919" cy="3652982"/>
            <a:chOff x="8575211" y="1350498"/>
            <a:chExt cx="3616789" cy="5508933"/>
          </a:xfrm>
        </p:grpSpPr>
        <p:grpSp>
          <p:nvGrpSpPr>
            <p:cNvPr id="6" name="Group 7">
              <a:extLst>
                <a:ext uri="{FF2B5EF4-FFF2-40B4-BE49-F238E27FC236}">
                  <a16:creationId xmlns:a16="http://schemas.microsoft.com/office/drawing/2014/main" id="{3D43AE9D-5E45-437B-AD6D-2FEB36E41109}"/>
                </a:ext>
              </a:extLst>
            </p:cNvPr>
            <p:cNvGrpSpPr/>
            <p:nvPr/>
          </p:nvGrpSpPr>
          <p:grpSpPr>
            <a:xfrm>
              <a:off x="8575211" y="1350498"/>
              <a:ext cx="3616789" cy="5508933"/>
              <a:chOff x="8340811" y="973319"/>
              <a:chExt cx="3880730" cy="5910957"/>
            </a:xfrm>
          </p:grpSpPr>
          <p:pic>
            <p:nvPicPr>
              <p:cNvPr id="8" name="Picture 8">
                <a:extLst>
                  <a:ext uri="{FF2B5EF4-FFF2-40B4-BE49-F238E27FC236}">
                    <a16:creationId xmlns:a16="http://schemas.microsoft.com/office/drawing/2014/main" id="{CF15A7FE-D26F-4276-85E3-B2DB1E9715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8340811" y="973319"/>
                <a:ext cx="3880730" cy="5910957"/>
              </a:xfrm>
              <a:prstGeom prst="rect">
                <a:avLst/>
              </a:prstGeom>
            </p:spPr>
          </p:pic>
          <p:pic>
            <p:nvPicPr>
              <p:cNvPr id="9" name="Picture 9">
                <a:extLst>
                  <a:ext uri="{FF2B5EF4-FFF2-40B4-BE49-F238E27FC236}">
                    <a16:creationId xmlns:a16="http://schemas.microsoft.com/office/drawing/2014/main" id="{0B5F6824-B780-4C14-94B2-A81AB09517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6438" t="12259" r="18162" b="12259"/>
              <a:stretch>
                <a:fillRect/>
              </a:stretch>
            </p:blipFill>
            <p:spPr>
              <a:xfrm>
                <a:off x="9106651" y="1696264"/>
                <a:ext cx="1964448" cy="3487182"/>
              </a:xfrm>
              <a:custGeom>
                <a:avLst/>
                <a:gdLst>
                  <a:gd name="connsiteX0" fmla="*/ 1 w 1964448"/>
                  <a:gd name="connsiteY0" fmla="*/ 0 h 3487182"/>
                  <a:gd name="connsiteX1" fmla="*/ 1964448 w 1964448"/>
                  <a:gd name="connsiteY1" fmla="*/ 2576 h 3487182"/>
                  <a:gd name="connsiteX2" fmla="*/ 1964448 w 1964448"/>
                  <a:gd name="connsiteY2" fmla="*/ 1624308 h 3487182"/>
                  <a:gd name="connsiteX3" fmla="*/ 1954049 w 1964448"/>
                  <a:gd name="connsiteY3" fmla="*/ 1662419 h 3487182"/>
                  <a:gd name="connsiteX4" fmla="*/ 1943840 w 1964448"/>
                  <a:gd name="connsiteY4" fmla="*/ 1803083 h 3487182"/>
                  <a:gd name="connsiteX5" fmla="*/ 1952600 w 1964448"/>
                  <a:gd name="connsiteY5" fmla="*/ 1942656 h 3487182"/>
                  <a:gd name="connsiteX6" fmla="*/ 1964448 w 1964448"/>
                  <a:gd name="connsiteY6" fmla="*/ 1997833 h 3487182"/>
                  <a:gd name="connsiteX7" fmla="*/ 1964448 w 1964448"/>
                  <a:gd name="connsiteY7" fmla="*/ 3487182 h 3487182"/>
                  <a:gd name="connsiteX8" fmla="*/ 0 w 1964448"/>
                  <a:gd name="connsiteY8" fmla="*/ 3482030 h 3487182"/>
                  <a:gd name="connsiteX9" fmla="*/ 1 w 1964448"/>
                  <a:gd name="connsiteY9" fmla="*/ 0 h 3487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4448" h="3487182">
                    <a:moveTo>
                      <a:pt x="1" y="0"/>
                    </a:moveTo>
                    <a:lnTo>
                      <a:pt x="1964448" y="2576"/>
                    </a:lnTo>
                    <a:lnTo>
                      <a:pt x="1964448" y="1624308"/>
                    </a:lnTo>
                    <a:lnTo>
                      <a:pt x="1954049" y="1662419"/>
                    </a:lnTo>
                    <a:cubicBezTo>
                      <a:pt x="1947208" y="1702427"/>
                      <a:pt x="1943196" y="1749273"/>
                      <a:pt x="1943840" y="1803083"/>
                    </a:cubicBezTo>
                    <a:cubicBezTo>
                      <a:pt x="1944484" y="1856892"/>
                      <a:pt x="1947530" y="1903291"/>
                      <a:pt x="1952600" y="1942656"/>
                    </a:cubicBezTo>
                    <a:lnTo>
                      <a:pt x="1964448" y="1997833"/>
                    </a:lnTo>
                    <a:lnTo>
                      <a:pt x="1964448" y="3487182"/>
                    </a:lnTo>
                    <a:lnTo>
                      <a:pt x="0" y="3482030"/>
                    </a:lnTo>
                    <a:cubicBezTo>
                      <a:pt x="0" y="2321353"/>
                      <a:pt x="1" y="1160677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</p:spPr>
          </p:pic>
          <p:pic>
            <p:nvPicPr>
              <p:cNvPr id="10" name="Picture 10">
                <a:extLst>
                  <a:ext uri="{FF2B5EF4-FFF2-40B4-BE49-F238E27FC236}">
                    <a16:creationId xmlns:a16="http://schemas.microsoft.com/office/drawing/2014/main" id="{F0618509-EC70-4766-A1C0-6BF8F17599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41398" y="2771570"/>
                <a:ext cx="1132375" cy="1132375"/>
              </a:xfrm>
              <a:prstGeom prst="rect">
                <a:avLst/>
              </a:prstGeom>
            </p:spPr>
          </p:pic>
        </p:grpSp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214E2C83-24D8-4C85-A00C-28AB49004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365628" y="1982069"/>
              <a:ext cx="1697904" cy="3436887"/>
            </a:xfrm>
            <a:prstGeom prst="rect">
              <a:avLst/>
            </a:prstGeom>
          </p:spPr>
        </p:pic>
      </p:grpSp>
      <p:sp>
        <p:nvSpPr>
          <p:cNvPr id="11" name="Título 2">
            <a:extLst>
              <a:ext uri="{FF2B5EF4-FFF2-40B4-BE49-F238E27FC236}">
                <a16:creationId xmlns:a16="http://schemas.microsoft.com/office/drawing/2014/main" id="{5ABDB05A-3DE8-4C11-A717-77B1C71B1A09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Características de Waylet</a:t>
            </a:r>
          </a:p>
        </p:txBody>
      </p:sp>
      <p:sp>
        <p:nvSpPr>
          <p:cNvPr id="14" name="Rectángulo 4">
            <a:extLst>
              <a:ext uri="{FF2B5EF4-FFF2-40B4-BE49-F238E27FC236}">
                <a16:creationId xmlns:a16="http://schemas.microsoft.com/office/drawing/2014/main" id="{A62B2C57-31E1-45D0-8C79-117822D574CE}"/>
              </a:ext>
            </a:extLst>
          </p:cNvPr>
          <p:cNvSpPr/>
          <p:nvPr/>
        </p:nvSpPr>
        <p:spPr>
          <a:xfrm>
            <a:off x="733624" y="811068"/>
            <a:ext cx="100181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Aportamos mayor seguridad y flexibilidad a los clientes Solred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</p:txBody>
      </p:sp>
    </p:spTree>
    <p:extLst>
      <p:ext uri="{BB962C8B-B14F-4D97-AF65-F5344CB8AC3E}">
        <p14:creationId xmlns:p14="http://schemas.microsoft.com/office/powerpoint/2010/main" val="3944899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CuadroTexto 65">
            <a:extLst>
              <a:ext uri="{FF2B5EF4-FFF2-40B4-BE49-F238E27FC236}">
                <a16:creationId xmlns:a16="http://schemas.microsoft.com/office/drawing/2014/main" id="{371B09B1-2758-4034-A378-30C4E25FBDE3}"/>
              </a:ext>
            </a:extLst>
          </p:cNvPr>
          <p:cNvSpPr txBox="1"/>
          <p:nvPr/>
        </p:nvSpPr>
        <p:spPr>
          <a:xfrm>
            <a:off x="1166124" y="181582"/>
            <a:ext cx="8976574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s-ES"/>
            </a:defPPr>
            <a:lvl1pPr marR="0" lvl="0" indent="0" defTabSz="121917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-147" normalizeH="0" baseline="0">
                <a:ln w="3175">
                  <a:noFill/>
                </a:ln>
                <a:solidFill>
                  <a:srgbClr val="6E6259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3200" b="1" i="0" u="none" strike="noStrike" kern="1200" cap="none" spc="-147" normalizeH="0" baseline="0" noProof="0" dirty="0">
                <a:ln w="3175">
                  <a:noFill/>
                </a:ln>
                <a:solidFill>
                  <a:srgbClr val="6E625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entajas del producto</a:t>
            </a:r>
            <a:endParaRPr kumimoji="0" lang="es-ES" sz="3200" b="1" i="0" u="none" strike="noStrike" kern="1200" cap="none" spc="-147" normalizeH="0" baseline="0" noProof="0" dirty="0">
              <a:ln w="3175">
                <a:noFill/>
              </a:ln>
              <a:solidFill>
                <a:srgbClr val="6E625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5 CuadroTexto">
            <a:extLst>
              <a:ext uri="{FF2B5EF4-FFF2-40B4-BE49-F238E27FC236}">
                <a16:creationId xmlns:a16="http://schemas.microsoft.com/office/drawing/2014/main" id="{5FF906E4-0376-4EDE-8B2F-17D1475FEE91}"/>
              </a:ext>
            </a:extLst>
          </p:cNvPr>
          <p:cNvSpPr txBox="1"/>
          <p:nvPr/>
        </p:nvSpPr>
        <p:spPr>
          <a:xfrm>
            <a:off x="701962" y="1201848"/>
            <a:ext cx="937490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s-ES" sz="2400" dirty="0">
                <a:solidFill>
                  <a:schemeClr val="tx2"/>
                </a:solidFill>
                <a:latin typeface="Repsol"/>
              </a:rPr>
              <a:t>Mayor </a:t>
            </a:r>
            <a:r>
              <a:rPr lang="es-ES" sz="2400" b="1" dirty="0">
                <a:solidFill>
                  <a:schemeClr val="tx2"/>
                </a:solidFill>
                <a:latin typeface="Repsol"/>
              </a:rPr>
              <a:t>seguridad</a:t>
            </a:r>
            <a:r>
              <a:rPr lang="es-ES" sz="2400" dirty="0">
                <a:solidFill>
                  <a:schemeClr val="tx2"/>
                </a:solidFill>
                <a:latin typeface="Repsol"/>
              </a:rPr>
              <a:t> de las operaciones</a:t>
            </a:r>
          </a:p>
          <a:p>
            <a:pPr marL="342900" indent="-342900" algn="l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s-ES" sz="2400" dirty="0">
              <a:solidFill>
                <a:schemeClr val="tx2"/>
              </a:solidFill>
              <a:latin typeface="Repsol"/>
            </a:endParaRP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s-ES" sz="2400" dirty="0">
                <a:solidFill>
                  <a:schemeClr val="tx2"/>
                </a:solidFill>
                <a:latin typeface="Repsol"/>
              </a:rPr>
              <a:t>Mejora en el </a:t>
            </a:r>
            <a:r>
              <a:rPr lang="es-ES" sz="2400" b="1" dirty="0">
                <a:solidFill>
                  <a:schemeClr val="tx2"/>
                </a:solidFill>
                <a:latin typeface="Repsol"/>
              </a:rPr>
              <a:t>control</a:t>
            </a:r>
            <a:r>
              <a:rPr lang="es-ES" sz="2400" dirty="0">
                <a:solidFill>
                  <a:schemeClr val="tx2"/>
                </a:solidFill>
                <a:latin typeface="Repsol"/>
              </a:rPr>
              <a:t> de los conductores</a:t>
            </a: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s-ES" sz="2400" dirty="0">
              <a:solidFill>
                <a:schemeClr val="tx2"/>
              </a:solidFill>
              <a:latin typeface="Repsol"/>
            </a:endParaRP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s-ES" sz="2400" dirty="0">
                <a:solidFill>
                  <a:schemeClr val="tx2"/>
                </a:solidFill>
                <a:latin typeface="Repsol"/>
              </a:rPr>
              <a:t>Acceso a todos los servicios de </a:t>
            </a:r>
            <a:r>
              <a:rPr lang="es-ES" sz="2400" b="1" dirty="0">
                <a:solidFill>
                  <a:schemeClr val="tx2"/>
                </a:solidFill>
                <a:latin typeface="Repsol"/>
              </a:rPr>
              <a:t>Solred Directo</a:t>
            </a: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s-ES" sz="2400" b="1" dirty="0">
              <a:solidFill>
                <a:schemeClr val="tx2"/>
              </a:solidFill>
              <a:latin typeface="Repsol"/>
            </a:endParaRP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s-ES" sz="2400" b="1" dirty="0">
                <a:solidFill>
                  <a:schemeClr val="tx2"/>
                </a:solidFill>
                <a:latin typeface="Repsol"/>
              </a:rPr>
              <a:t>Facilidad</a:t>
            </a:r>
            <a:r>
              <a:rPr lang="es-ES" sz="2400" dirty="0">
                <a:solidFill>
                  <a:schemeClr val="tx2"/>
                </a:solidFill>
                <a:latin typeface="Repsol"/>
              </a:rPr>
              <a:t> para la distribución de las tarjetas</a:t>
            </a: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s-ES" sz="2400" dirty="0">
                <a:solidFill>
                  <a:schemeClr val="tx2"/>
                </a:solidFill>
                <a:latin typeface="Repsol"/>
              </a:rPr>
              <a:t> </a:t>
            </a: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s-ES" sz="2400" b="1" dirty="0">
                <a:solidFill>
                  <a:schemeClr val="tx2"/>
                </a:solidFill>
                <a:latin typeface="Repsol"/>
              </a:rPr>
              <a:t>Agilidad</a:t>
            </a:r>
            <a:r>
              <a:rPr lang="es-ES" sz="2400" dirty="0">
                <a:solidFill>
                  <a:schemeClr val="tx2"/>
                </a:solidFill>
                <a:latin typeface="Repsol"/>
              </a:rPr>
              <a:t> en la modificación de usuarios</a:t>
            </a: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s-ES" sz="2400" dirty="0">
              <a:solidFill>
                <a:schemeClr val="tx2"/>
              </a:solidFill>
              <a:latin typeface="Repsol"/>
            </a:endParaRPr>
          </a:p>
          <a:p>
            <a:pPr marL="342900" indent="-342900" algn="just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s-ES" sz="2400" b="1" dirty="0">
                <a:solidFill>
                  <a:schemeClr val="tx2"/>
                </a:solidFill>
                <a:latin typeface="Repsol"/>
              </a:rPr>
              <a:t>Inmediatez</a:t>
            </a:r>
            <a:r>
              <a:rPr lang="es-ES" sz="2400" dirty="0">
                <a:solidFill>
                  <a:schemeClr val="tx2"/>
                </a:solidFill>
                <a:latin typeface="Repsol"/>
              </a:rPr>
              <a:t> en el consumo</a:t>
            </a:r>
          </a:p>
        </p:txBody>
      </p:sp>
      <p:pic>
        <p:nvPicPr>
          <p:cNvPr id="30" name="Picture 2">
            <a:extLst>
              <a:ext uri="{FF2B5EF4-FFF2-40B4-BE49-F238E27FC236}">
                <a16:creationId xmlns:a16="http://schemas.microsoft.com/office/drawing/2014/main" id="{1E4F7E69-22FF-41DD-9A9B-4E988C63F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1121" y="4572001"/>
            <a:ext cx="368088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4505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agen que contiene objeto, reloj, señal, dibujo&#10;&#10;Descripción generada automáticamente">
            <a:extLst>
              <a:ext uri="{FF2B5EF4-FFF2-40B4-BE49-F238E27FC236}">
                <a16:creationId xmlns:a16="http://schemas.microsoft.com/office/drawing/2014/main" id="{14E8EE79-5470-4EF9-8E4C-2462CDDF1F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101" y="1321724"/>
            <a:ext cx="6064882" cy="165137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" name="Rectángulo 1"/>
          <p:cNvSpPr/>
          <p:nvPr/>
        </p:nvSpPr>
        <p:spPr>
          <a:xfrm>
            <a:off x="666655" y="3710163"/>
            <a:ext cx="10690166" cy="1862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4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Repsol" panose="02000506030000020004" pitchFamily="2" charset="0"/>
                <a:ea typeface="+mn-ea"/>
                <a:cs typeface="+mn-cs"/>
              </a:rPr>
              <a:t>Registro en Waylet</a:t>
            </a:r>
          </a:p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3200" b="1" dirty="0">
                <a:solidFill>
                  <a:srgbClr val="ED7D31"/>
                </a:solidFill>
                <a:latin typeface="Repsol" panose="02000506030000020004" pitchFamily="2" charset="0"/>
              </a:rPr>
              <a:t>NIF/CIF ≤  3 tarjetas</a:t>
            </a:r>
            <a:endParaRPr kumimoji="0" lang="es-ES_tradnl" sz="4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Repsol" panose="0200050603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346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Registro en Waylet</a:t>
            </a: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B4C7A90F-F560-43AD-AA93-C4A0F6B24F2A}"/>
              </a:ext>
            </a:extLst>
          </p:cNvPr>
          <p:cNvGrpSpPr/>
          <p:nvPr/>
        </p:nvGrpSpPr>
        <p:grpSpPr>
          <a:xfrm>
            <a:off x="232929" y="1039747"/>
            <a:ext cx="11726142" cy="5538434"/>
            <a:chOff x="131618" y="1254491"/>
            <a:chExt cx="11726142" cy="5538434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0752E90D-2494-4714-ACC7-38F04ED5C8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8491" r="46963"/>
            <a:stretch/>
          </p:blipFill>
          <p:spPr>
            <a:xfrm>
              <a:off x="131618" y="1335100"/>
              <a:ext cx="2798618" cy="5457825"/>
            </a:xfrm>
            <a:prstGeom prst="rect">
              <a:avLst/>
            </a:prstGeom>
          </p:spPr>
        </p:pic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79B02C6C-BC3A-4A93-8C1D-B99B0C9BEF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4789"/>
            <a:stretch/>
          </p:blipFill>
          <p:spPr>
            <a:xfrm>
              <a:off x="3068782" y="1254491"/>
              <a:ext cx="2874385" cy="5457825"/>
            </a:xfrm>
            <a:prstGeom prst="rect">
              <a:avLst/>
            </a:prstGeom>
          </p:spPr>
        </p:pic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62A44E6A-5A8C-4CCC-A68F-E4E5072240A8}"/>
                </a:ext>
              </a:extLst>
            </p:cNvPr>
            <p:cNvGrpSpPr/>
            <p:nvPr/>
          </p:nvGrpSpPr>
          <p:grpSpPr>
            <a:xfrm>
              <a:off x="6081713" y="1377601"/>
              <a:ext cx="5776047" cy="5067300"/>
              <a:chOff x="6001182" y="1449753"/>
              <a:chExt cx="5776047" cy="5067300"/>
            </a:xfrm>
          </p:grpSpPr>
          <p:pic>
            <p:nvPicPr>
              <p:cNvPr id="14" name="Imagen 13">
                <a:extLst>
                  <a:ext uri="{FF2B5EF4-FFF2-40B4-BE49-F238E27FC236}">
                    <a16:creationId xmlns:a16="http://schemas.microsoft.com/office/drawing/2014/main" id="{D042034F-5ECE-4E1F-A4A2-D9DC583E58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001182" y="1449753"/>
                <a:ext cx="2809875" cy="5067300"/>
              </a:xfrm>
              <a:prstGeom prst="rect">
                <a:avLst/>
              </a:prstGeom>
            </p:spPr>
          </p:pic>
          <p:pic>
            <p:nvPicPr>
              <p:cNvPr id="16" name="Imagen 15">
                <a:extLst>
                  <a:ext uri="{FF2B5EF4-FFF2-40B4-BE49-F238E27FC236}">
                    <a16:creationId xmlns:a16="http://schemas.microsoft.com/office/drawing/2014/main" id="{C1DCB7AD-B98D-442B-BB25-C3774240A5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976879" y="1449753"/>
                <a:ext cx="2800350" cy="50673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32812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Registro en Waylet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93B46A01-46F4-43D9-80B4-4EB43F0BD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41202"/>
            <a:ext cx="12192000" cy="5286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2973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Registro en Waylet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D0C302A-7B0F-42AA-8C0A-29E89F75B7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509" y="1407535"/>
            <a:ext cx="10820400" cy="5400675"/>
          </a:xfrm>
          <a:prstGeom prst="rect">
            <a:avLst/>
          </a:prstGeom>
        </p:spPr>
      </p:pic>
      <p:sp>
        <p:nvSpPr>
          <p:cNvPr id="6" name="Rectángulo 4">
            <a:extLst>
              <a:ext uri="{FF2B5EF4-FFF2-40B4-BE49-F238E27FC236}">
                <a16:creationId xmlns:a16="http://schemas.microsoft.com/office/drawing/2014/main" id="{BC769BCB-A066-43F3-91F3-6BFF3928C468}"/>
              </a:ext>
            </a:extLst>
          </p:cNvPr>
          <p:cNvSpPr/>
          <p:nvPr/>
        </p:nvSpPr>
        <p:spPr>
          <a:xfrm>
            <a:off x="733624" y="811068"/>
            <a:ext cx="100181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Repsol"/>
                <a:ea typeface="+mn-ea"/>
                <a:cs typeface="Repsol"/>
              </a:rPr>
              <a:t>Solicitu</a:t>
            </a:r>
            <a:r>
              <a:rPr lang="es-ES_tradnl" sz="2400" b="1" dirty="0">
                <a:solidFill>
                  <a:srgbClr val="ED7D31"/>
                </a:solidFill>
                <a:latin typeface="Repsol"/>
                <a:cs typeface="Repsol"/>
              </a:rPr>
              <a:t>d de permisos y activación de medios de pago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Repsol"/>
              <a:ea typeface="+mn-ea"/>
              <a:cs typeface="Repsol"/>
            </a:endParaRPr>
          </a:p>
        </p:txBody>
      </p:sp>
    </p:spTree>
    <p:extLst>
      <p:ext uri="{BB962C8B-B14F-4D97-AF65-F5344CB8AC3E}">
        <p14:creationId xmlns:p14="http://schemas.microsoft.com/office/powerpoint/2010/main" val="2530279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Enrolamiento en Waylet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8E31CB65-5F04-479C-A460-5D7D249A14DC}"/>
              </a:ext>
            </a:extLst>
          </p:cNvPr>
          <p:cNvGrpSpPr/>
          <p:nvPr/>
        </p:nvGrpSpPr>
        <p:grpSpPr>
          <a:xfrm>
            <a:off x="432889" y="844069"/>
            <a:ext cx="2556000" cy="5580000"/>
            <a:chOff x="3171430" y="1041900"/>
            <a:chExt cx="2556000" cy="5580000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29A79AB5-D2CC-4101-B2F2-E3E87D25D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9568" y="1789157"/>
              <a:ext cx="2326887" cy="4257775"/>
            </a:xfrm>
            <a:prstGeom prst="rect">
              <a:avLst/>
            </a:prstGeom>
          </p:spPr>
        </p:pic>
        <p:pic>
          <p:nvPicPr>
            <p:cNvPr id="17" name="Picture 2" descr="Resultado de imagen de marco iphone">
              <a:extLst>
                <a:ext uri="{FF2B5EF4-FFF2-40B4-BE49-F238E27FC236}">
                  <a16:creationId xmlns:a16="http://schemas.microsoft.com/office/drawing/2014/main" id="{653FC9A9-D510-4E6A-B659-EA72BB8A43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3171430" y="1041900"/>
              <a:ext cx="2556000" cy="55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Rectángulo 18">
            <a:extLst>
              <a:ext uri="{FF2B5EF4-FFF2-40B4-BE49-F238E27FC236}">
                <a16:creationId xmlns:a16="http://schemas.microsoft.com/office/drawing/2014/main" id="{D7DE9814-9011-484B-8048-D841A27D9BE9}"/>
              </a:ext>
            </a:extLst>
          </p:cNvPr>
          <p:cNvSpPr/>
          <p:nvPr/>
        </p:nvSpPr>
        <p:spPr>
          <a:xfrm>
            <a:off x="594245" y="3042637"/>
            <a:ext cx="2131663" cy="46166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1A55A6A2-5339-4DE6-A02E-20DDB5130372}"/>
              </a:ext>
            </a:extLst>
          </p:cNvPr>
          <p:cNvGrpSpPr/>
          <p:nvPr/>
        </p:nvGrpSpPr>
        <p:grpSpPr>
          <a:xfrm>
            <a:off x="3128067" y="844070"/>
            <a:ext cx="2556000" cy="5580000"/>
            <a:chOff x="2236423" y="664936"/>
            <a:chExt cx="2952522" cy="6345716"/>
          </a:xfrm>
        </p:grpSpPr>
        <p:pic>
          <p:nvPicPr>
            <p:cNvPr id="25" name="Imagen 24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452342FA-E053-46A3-9C73-DC4B003CF8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9" r="77048"/>
            <a:stretch/>
          </p:blipFill>
          <p:spPr>
            <a:xfrm>
              <a:off x="2456761" y="1109018"/>
              <a:ext cx="2511846" cy="5457552"/>
            </a:xfrm>
            <a:prstGeom prst="rect">
              <a:avLst/>
            </a:prstGeom>
          </p:spPr>
        </p:pic>
        <p:pic>
          <p:nvPicPr>
            <p:cNvPr id="26" name="Picture 2" descr="Resultado de imagen de marco iphone">
              <a:extLst>
                <a:ext uri="{FF2B5EF4-FFF2-40B4-BE49-F238E27FC236}">
                  <a16:creationId xmlns:a16="http://schemas.microsoft.com/office/drawing/2014/main" id="{93B4AC12-1ED5-439D-871C-1C94BF10C0B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2236423" y="664936"/>
              <a:ext cx="2952522" cy="6345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o 26">
            <a:extLst>
              <a:ext uri="{FF2B5EF4-FFF2-40B4-BE49-F238E27FC236}">
                <a16:creationId xmlns:a16="http://schemas.microsoft.com/office/drawing/2014/main" id="{2EC5CD39-0BBD-4199-80D8-362CAC558F18}"/>
              </a:ext>
            </a:extLst>
          </p:cNvPr>
          <p:cNvGrpSpPr/>
          <p:nvPr/>
        </p:nvGrpSpPr>
        <p:grpSpPr>
          <a:xfrm>
            <a:off x="8598391" y="844069"/>
            <a:ext cx="2556000" cy="5580000"/>
            <a:chOff x="5685031" y="760727"/>
            <a:chExt cx="2952522" cy="6345716"/>
          </a:xfrm>
        </p:grpSpPr>
        <p:pic>
          <p:nvPicPr>
            <p:cNvPr id="28" name="Imagen 27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ED5E26D0-498C-4CD7-8F19-142EB428ED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077" t="6466" r="50816" b="5833"/>
            <a:stretch/>
          </p:blipFill>
          <p:spPr>
            <a:xfrm>
              <a:off x="5812325" y="1603289"/>
              <a:ext cx="2697934" cy="4786371"/>
            </a:xfrm>
            <a:prstGeom prst="rect">
              <a:avLst/>
            </a:prstGeom>
          </p:spPr>
        </p:pic>
        <p:pic>
          <p:nvPicPr>
            <p:cNvPr id="29" name="Picture 2" descr="Resultado de imagen de marco iphone">
              <a:extLst>
                <a:ext uri="{FF2B5EF4-FFF2-40B4-BE49-F238E27FC236}">
                  <a16:creationId xmlns:a16="http://schemas.microsoft.com/office/drawing/2014/main" id="{61A43B8C-E160-4EE6-AC4B-13516BFB0CE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5685031" y="760727"/>
              <a:ext cx="2952522" cy="6345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Rectángulo 29">
            <a:extLst>
              <a:ext uri="{FF2B5EF4-FFF2-40B4-BE49-F238E27FC236}">
                <a16:creationId xmlns:a16="http://schemas.microsoft.com/office/drawing/2014/main" id="{BD120637-3349-4FB8-B504-085D828921BD}"/>
              </a:ext>
            </a:extLst>
          </p:cNvPr>
          <p:cNvSpPr/>
          <p:nvPr/>
        </p:nvSpPr>
        <p:spPr>
          <a:xfrm>
            <a:off x="3361658" y="3218199"/>
            <a:ext cx="2131663" cy="83174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9E172977-72EB-4D5C-AE0F-DA446C8975D3}"/>
              </a:ext>
            </a:extLst>
          </p:cNvPr>
          <p:cNvGrpSpPr/>
          <p:nvPr/>
        </p:nvGrpSpPr>
        <p:grpSpPr>
          <a:xfrm>
            <a:off x="5832537" y="844069"/>
            <a:ext cx="2556000" cy="5580000"/>
            <a:chOff x="5998187" y="1129120"/>
            <a:chExt cx="2556000" cy="5580000"/>
          </a:xfrm>
        </p:grpSpPr>
        <p:pic>
          <p:nvPicPr>
            <p:cNvPr id="33" name="Imagen 32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2CB61F5C-542B-401F-8E2E-1AA04B537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44491" y="1893067"/>
              <a:ext cx="2287715" cy="4257774"/>
            </a:xfrm>
            <a:prstGeom prst="rect">
              <a:avLst/>
            </a:prstGeom>
          </p:spPr>
        </p:pic>
        <p:pic>
          <p:nvPicPr>
            <p:cNvPr id="32" name="Picture 2" descr="Resultado de imagen de marco iphone">
              <a:extLst>
                <a:ext uri="{FF2B5EF4-FFF2-40B4-BE49-F238E27FC236}">
                  <a16:creationId xmlns:a16="http://schemas.microsoft.com/office/drawing/2014/main" id="{4DE0702A-A967-446F-8C2A-FC5AEB4A85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5998187" y="1129120"/>
              <a:ext cx="2556000" cy="55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CuadroTexto 35">
            <a:extLst>
              <a:ext uri="{FF2B5EF4-FFF2-40B4-BE49-F238E27FC236}">
                <a16:creationId xmlns:a16="http://schemas.microsoft.com/office/drawing/2014/main" id="{79196363-0806-40FF-B3DA-6341AE93B936}"/>
              </a:ext>
            </a:extLst>
          </p:cNvPr>
          <p:cNvSpPr txBox="1"/>
          <p:nvPr/>
        </p:nvSpPr>
        <p:spPr>
          <a:xfrm>
            <a:off x="6310676" y="4635270"/>
            <a:ext cx="2287715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1400" dirty="0"/>
              <a:t>El usuario tendrá que seleccionar “Añadir” en la esquina superior derecha del campo de Tarjetas de Pago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11E92CE8-63D6-4EE5-B76F-8F419A37C39D}"/>
              </a:ext>
            </a:extLst>
          </p:cNvPr>
          <p:cNvSpPr/>
          <p:nvPr/>
        </p:nvSpPr>
        <p:spPr>
          <a:xfrm>
            <a:off x="6056866" y="2490121"/>
            <a:ext cx="2131663" cy="55896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386F4E4-9FCE-4894-809C-8C34B5550DCA}"/>
              </a:ext>
            </a:extLst>
          </p:cNvPr>
          <p:cNvSpPr txBox="1"/>
          <p:nvPr/>
        </p:nvSpPr>
        <p:spPr>
          <a:xfrm>
            <a:off x="9028642" y="4259473"/>
            <a:ext cx="23356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sz="1200" dirty="0">
              <a:solidFill>
                <a:srgbClr val="FF0000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3EC0EC4F-3019-4453-BD19-7474F9B2BA4E}"/>
              </a:ext>
            </a:extLst>
          </p:cNvPr>
          <p:cNvSpPr txBox="1"/>
          <p:nvPr/>
        </p:nvSpPr>
        <p:spPr>
          <a:xfrm>
            <a:off x="9702783" y="4193340"/>
            <a:ext cx="2287715" cy="16004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1400" dirty="0"/>
              <a:t>Si al introducir DNI sale una pantalla solicitando el código de activación facilitado por el gestor de la flota, </a:t>
            </a:r>
            <a:r>
              <a:rPr lang="es-ES" sz="1400" b="1" dirty="0"/>
              <a:t>es muy importante que el usuario pruebe a introducir NIF con su letra correspondiente. </a:t>
            </a:r>
          </a:p>
        </p:txBody>
      </p:sp>
    </p:spTree>
    <p:extLst>
      <p:ext uri="{BB962C8B-B14F-4D97-AF65-F5344CB8AC3E}">
        <p14:creationId xmlns:p14="http://schemas.microsoft.com/office/powerpoint/2010/main" val="3505229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">
            <a:extLst>
              <a:ext uri="{FF2B5EF4-FFF2-40B4-BE49-F238E27FC236}">
                <a16:creationId xmlns:a16="http://schemas.microsoft.com/office/drawing/2014/main" id="{E20E7964-9802-47B0-87B8-CF8975E1A57D}"/>
              </a:ext>
            </a:extLst>
          </p:cNvPr>
          <p:cNvSpPr txBox="1">
            <a:spLocks/>
          </p:cNvSpPr>
          <p:nvPr/>
        </p:nvSpPr>
        <p:spPr>
          <a:xfrm>
            <a:off x="1092897" y="226293"/>
            <a:ext cx="9054019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s-ES" sz="3200" b="1" kern="1200" spc="-147" dirty="0">
                <a:ln w="3175">
                  <a:noFill/>
                </a:ln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47" normalizeH="0" baseline="0" noProof="0" dirty="0">
                <a:ln w="3175">
                  <a:noFill/>
                </a:ln>
                <a:effectLst/>
                <a:uLnTx/>
                <a:uFillTx/>
                <a:latin typeface="Repsol" panose="02000506030000020004" pitchFamily="50" charset="0"/>
                <a:ea typeface="+mn-ea"/>
                <a:cs typeface="Arial" pitchFamily="34" charset="0"/>
              </a:rPr>
              <a:t>Enrolamiento en Waylet</a:t>
            </a:r>
          </a:p>
        </p:txBody>
      </p:sp>
      <p:grpSp>
        <p:nvGrpSpPr>
          <p:cNvPr id="48" name="Grupo 47">
            <a:extLst>
              <a:ext uri="{FF2B5EF4-FFF2-40B4-BE49-F238E27FC236}">
                <a16:creationId xmlns:a16="http://schemas.microsoft.com/office/drawing/2014/main" id="{E27BB53F-0EDC-4D9F-9FA1-8E63A85DD368}"/>
              </a:ext>
            </a:extLst>
          </p:cNvPr>
          <p:cNvGrpSpPr/>
          <p:nvPr/>
        </p:nvGrpSpPr>
        <p:grpSpPr>
          <a:xfrm>
            <a:off x="403154" y="913273"/>
            <a:ext cx="2556000" cy="5580000"/>
            <a:chOff x="209292" y="468340"/>
            <a:chExt cx="2952522" cy="6345716"/>
          </a:xfrm>
        </p:grpSpPr>
        <p:pic>
          <p:nvPicPr>
            <p:cNvPr id="49" name="Imagen 48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1B10496C-9B9D-4A1C-AEF4-7F4FF07EBC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574" t="6466" r="25213" b="5833"/>
            <a:stretch/>
          </p:blipFill>
          <p:spPr>
            <a:xfrm>
              <a:off x="331421" y="1310901"/>
              <a:ext cx="2708264" cy="4786372"/>
            </a:xfrm>
            <a:prstGeom prst="rect">
              <a:avLst/>
            </a:prstGeom>
          </p:spPr>
        </p:pic>
        <p:pic>
          <p:nvPicPr>
            <p:cNvPr id="50" name="Picture 2" descr="Resultado de imagen de marco iphone">
              <a:extLst>
                <a:ext uri="{FF2B5EF4-FFF2-40B4-BE49-F238E27FC236}">
                  <a16:creationId xmlns:a16="http://schemas.microsoft.com/office/drawing/2014/main" id="{D075EB74-CF89-4248-9CEC-3247DDBB61C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209292" y="468340"/>
              <a:ext cx="2952522" cy="6345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" name="Grupo 50">
            <a:extLst>
              <a:ext uri="{FF2B5EF4-FFF2-40B4-BE49-F238E27FC236}">
                <a16:creationId xmlns:a16="http://schemas.microsoft.com/office/drawing/2014/main" id="{668CD365-CDEC-44D7-B386-34390E4BB7B3}"/>
              </a:ext>
            </a:extLst>
          </p:cNvPr>
          <p:cNvGrpSpPr/>
          <p:nvPr/>
        </p:nvGrpSpPr>
        <p:grpSpPr>
          <a:xfrm>
            <a:off x="3309182" y="913272"/>
            <a:ext cx="2556000" cy="5580000"/>
            <a:chOff x="5083456" y="906921"/>
            <a:chExt cx="2952522" cy="6345716"/>
          </a:xfrm>
        </p:grpSpPr>
        <p:pic>
          <p:nvPicPr>
            <p:cNvPr id="52" name="Imagen 51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23EEA0EF-BED6-44C9-AD70-DF9505DD10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370" t="6465" r="1202" b="5053"/>
            <a:stretch/>
          </p:blipFill>
          <p:spPr>
            <a:xfrm>
              <a:off x="5192513" y="1738406"/>
              <a:ext cx="2734408" cy="4828940"/>
            </a:xfrm>
            <a:prstGeom prst="rect">
              <a:avLst/>
            </a:prstGeom>
          </p:spPr>
        </p:pic>
        <p:pic>
          <p:nvPicPr>
            <p:cNvPr id="53" name="Picture 2" descr="Resultado de imagen de marco iphone">
              <a:extLst>
                <a:ext uri="{FF2B5EF4-FFF2-40B4-BE49-F238E27FC236}">
                  <a16:creationId xmlns:a16="http://schemas.microsoft.com/office/drawing/2014/main" id="{0F647708-C2D5-4A64-A5A4-8772812B05E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5083456" y="906921"/>
              <a:ext cx="2952522" cy="6345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9" name="Imagen 3">
            <a:extLst>
              <a:ext uri="{FF2B5EF4-FFF2-40B4-BE49-F238E27FC236}">
                <a16:creationId xmlns:a16="http://schemas.microsoft.com/office/drawing/2014/main" id="{4206789D-FFFE-411D-B805-719AC409F2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4672" y="1902692"/>
            <a:ext cx="2297076" cy="3906982"/>
          </a:xfrm>
          <a:prstGeom prst="rect">
            <a:avLst/>
          </a:prstGeom>
        </p:spPr>
      </p:pic>
      <p:pic>
        <p:nvPicPr>
          <p:cNvPr id="63" name="Picture 2" descr="Resultado de imagen de marco iphone">
            <a:extLst>
              <a:ext uri="{FF2B5EF4-FFF2-40B4-BE49-F238E27FC236}">
                <a16:creationId xmlns:a16="http://schemas.microsoft.com/office/drawing/2014/main" id="{3B4D1D8A-38A9-4118-ACB3-AC498E80F7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76" t="15748" r="29077" b="17614"/>
          <a:stretch/>
        </p:blipFill>
        <p:spPr bwMode="auto">
          <a:xfrm>
            <a:off x="6215210" y="913272"/>
            <a:ext cx="2556000" cy="55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o 2">
            <a:extLst>
              <a:ext uri="{FF2B5EF4-FFF2-40B4-BE49-F238E27FC236}">
                <a16:creationId xmlns:a16="http://schemas.microsoft.com/office/drawing/2014/main" id="{C790045F-DEBD-41BE-B6FF-D52B22504432}"/>
              </a:ext>
            </a:extLst>
          </p:cNvPr>
          <p:cNvGrpSpPr/>
          <p:nvPr/>
        </p:nvGrpSpPr>
        <p:grpSpPr>
          <a:xfrm>
            <a:off x="9056507" y="913272"/>
            <a:ext cx="2556000" cy="5580000"/>
            <a:chOff x="9900519" y="913272"/>
            <a:chExt cx="2556000" cy="5580000"/>
          </a:xfrm>
        </p:grpSpPr>
        <p:pic>
          <p:nvPicPr>
            <p:cNvPr id="60" name="Imagen 4">
              <a:extLst>
                <a:ext uri="{FF2B5EF4-FFF2-40B4-BE49-F238E27FC236}">
                  <a16:creationId xmlns:a16="http://schemas.microsoft.com/office/drawing/2014/main" id="{D9BB54CA-3F49-4807-98DF-96E6AB711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59319" y="1923474"/>
              <a:ext cx="2438400" cy="3173671"/>
            </a:xfrm>
            <a:prstGeom prst="rect">
              <a:avLst/>
            </a:prstGeom>
          </p:spPr>
        </p:pic>
        <p:pic>
          <p:nvPicPr>
            <p:cNvPr id="64" name="Picture 2" descr="Resultado de imagen de marco iphone">
              <a:extLst>
                <a:ext uri="{FF2B5EF4-FFF2-40B4-BE49-F238E27FC236}">
                  <a16:creationId xmlns:a16="http://schemas.microsoft.com/office/drawing/2014/main" id="{660A9DA6-7466-4EFD-AF3B-409AAFD5BF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6" t="15748" r="29077" b="17614"/>
            <a:stretch/>
          </p:blipFill>
          <p:spPr bwMode="auto">
            <a:xfrm>
              <a:off x="9900519" y="913272"/>
              <a:ext cx="2556000" cy="55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2693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742BC992C109441B1DEB9AC18092308" ma:contentTypeVersion="6" ma:contentTypeDescription="Crear nuevo documento." ma:contentTypeScope="" ma:versionID="c70e8ed83a8f757e20351e067ad2537b">
  <xsd:schema xmlns:xsd="http://www.w3.org/2001/XMLSchema" xmlns:xs="http://www.w3.org/2001/XMLSchema" xmlns:p="http://schemas.microsoft.com/office/2006/metadata/properties" xmlns:ns2="d7e34bcc-e5ca-4ac3-aca3-44641425da93" xmlns:ns3="b0c51084-bc72-4e51-952b-333a9e07ae6d" targetNamespace="http://schemas.microsoft.com/office/2006/metadata/properties" ma:root="true" ma:fieldsID="2a9b63c529f5509039b42efcf17182e1" ns2:_="" ns3:_="">
    <xsd:import namespace="d7e34bcc-e5ca-4ac3-aca3-44641425da93"/>
    <xsd:import namespace="b0c51084-bc72-4e51-952b-333a9e07ae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e34bcc-e5ca-4ac3-aca3-44641425da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c51084-bc72-4e51-952b-333a9e07ae6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5A40B9D-8A7A-4CAD-AE5D-A2C944CD363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4D9669-FE68-4C5C-B183-C03D6D73BD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e34bcc-e5ca-4ac3-aca3-44641425da93"/>
    <ds:schemaRef ds:uri="b0c51084-bc72-4e51-952b-333a9e07ae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1D22B0-8AB9-4858-AE9B-F2E029621E5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5</TotalTime>
  <Words>535</Words>
  <Application>Microsoft Office PowerPoint</Application>
  <PresentationFormat>Panorámica</PresentationFormat>
  <Paragraphs>98</Paragraphs>
  <Slides>19</Slides>
  <Notes>4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0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OMEZ MARTIN, CELIA</dc:creator>
  <cp:lastModifiedBy>GOMEZ MARTIN, CELIA</cp:lastModifiedBy>
  <cp:revision>5</cp:revision>
  <dcterms:created xsi:type="dcterms:W3CDTF">2021-04-20T08:27:10Z</dcterms:created>
  <dcterms:modified xsi:type="dcterms:W3CDTF">2022-09-12T11:1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42BC992C109441B1DEB9AC18092308</vt:lpwstr>
  </property>
  <property fmtid="{D5CDD505-2E9C-101B-9397-08002B2CF9AE}" pid="3" name="MSIP_Label_d1119503-6b46-4a43-a658-e1d3aca29592_Enabled">
    <vt:lpwstr>true</vt:lpwstr>
  </property>
  <property fmtid="{D5CDD505-2E9C-101B-9397-08002B2CF9AE}" pid="4" name="MSIP_Label_d1119503-6b46-4a43-a658-e1d3aca29592_SetDate">
    <vt:lpwstr>2022-09-12T11:11:53Z</vt:lpwstr>
  </property>
  <property fmtid="{D5CDD505-2E9C-101B-9397-08002B2CF9AE}" pid="5" name="MSIP_Label_d1119503-6b46-4a43-a658-e1d3aca29592_Method">
    <vt:lpwstr>Standard</vt:lpwstr>
  </property>
  <property fmtid="{D5CDD505-2E9C-101B-9397-08002B2CF9AE}" pid="6" name="MSIP_Label_d1119503-6b46-4a43-a658-e1d3aca29592_Name">
    <vt:lpwstr>No Additional Protections</vt:lpwstr>
  </property>
  <property fmtid="{D5CDD505-2E9C-101B-9397-08002B2CF9AE}" pid="7" name="MSIP_Label_d1119503-6b46-4a43-a658-e1d3aca29592_SiteId">
    <vt:lpwstr>0a25214f-ee52-483c-b96b-dc79f3227a6f</vt:lpwstr>
  </property>
  <property fmtid="{D5CDD505-2E9C-101B-9397-08002B2CF9AE}" pid="8" name="MSIP_Label_d1119503-6b46-4a43-a658-e1d3aca29592_ActionId">
    <vt:lpwstr>df82d92d-a4f2-47ba-b438-4cec86bd2846</vt:lpwstr>
  </property>
  <property fmtid="{D5CDD505-2E9C-101B-9397-08002B2CF9AE}" pid="9" name="MSIP_Label_d1119503-6b46-4a43-a658-e1d3aca29592_ContentBits">
    <vt:lpwstr>0</vt:lpwstr>
  </property>
</Properties>
</file>